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notesMasterIdLst>
    <p:notesMasterId r:id="rId3"/>
  </p:notesMasterIdLst>
  <p:handoutMasterIdLst>
    <p:handoutMasterId r:id="rId4"/>
  </p:handoutMasterIdLst>
  <p:sldIdLst>
    <p:sldId id="2134804870" r:id="rId2"/>
  </p:sldIdLst>
  <p:sldSz cx="11949113" cy="6721475"/>
  <p:notesSz cx="6858000" cy="9144000"/>
  <p:custDataLst>
    <p:tags r:id="rId5"/>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pos="89" userDrawn="1">
          <p15:clr>
            <a:srgbClr val="A4A3A4"/>
          </p15:clr>
        </p15:guide>
        <p15:guide id="2" orient="horz" pos="348" userDrawn="1">
          <p15:clr>
            <a:srgbClr val="A4A3A4"/>
          </p15:clr>
        </p15:guide>
        <p15:guide id="3" orient="horz" pos="1013" userDrawn="1">
          <p15:clr>
            <a:srgbClr val="A4A3A4"/>
          </p15:clr>
        </p15:guide>
        <p15:guide id="4" pos="727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8"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6739"/>
    <a:srgbClr val="F8FFF7"/>
    <a:srgbClr val="33663C"/>
    <a:srgbClr val="E1F2E0"/>
    <a:srgbClr val="FCEDC6"/>
    <a:srgbClr val="F8F5E0"/>
    <a:srgbClr val="F9DDB9"/>
    <a:srgbClr val="FFD390"/>
    <a:srgbClr val="FFAFAC"/>
    <a:srgbClr val="FD97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1348" autoAdjust="0"/>
    <p:restoredTop sz="93989"/>
  </p:normalViewPr>
  <p:slideViewPr>
    <p:cSldViewPr snapToGrid="0">
      <p:cViewPr>
        <p:scale>
          <a:sx n="81" d="100"/>
          <a:sy n="81" d="100"/>
        </p:scale>
        <p:origin x="43" y="144"/>
      </p:cViewPr>
      <p:guideLst>
        <p:guide pos="89"/>
        <p:guide orient="horz" pos="348"/>
        <p:guide orient="horz" pos="1013"/>
        <p:guide pos="7279"/>
      </p:guideLst>
    </p:cSldViewPr>
  </p:slideViewPr>
  <p:notesTextViewPr>
    <p:cViewPr>
      <p:scale>
        <a:sx n="1" d="1"/>
        <a:sy n="1" d="1"/>
      </p:scale>
      <p:origin x="0" y="0"/>
    </p:cViewPr>
  </p:notesTextViewPr>
  <p:sorterViewPr>
    <p:cViewPr>
      <p:scale>
        <a:sx n="120" d="100"/>
        <a:sy n="120" d="100"/>
      </p:scale>
      <p:origin x="0" y="-1800"/>
    </p:cViewPr>
  </p:sorterViewPr>
  <p:notesViewPr>
    <p:cSldViewPr snapToGrid="0">
      <p:cViewPr varScale="1">
        <p:scale>
          <a:sx n="85" d="100"/>
          <a:sy n="85" d="100"/>
        </p:scale>
        <p:origin x="3928" y="16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notesMaster" Target="notesMasters/notesMaster1.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5" Type="http://schemas.openxmlformats.org/officeDocument/2006/relationships/tags" Target="tags/tag1.xml"/><Relationship Id="rId10" Type="http://schemas.openxmlformats.org/officeDocument/2006/relationships/tableStyles" Target="tableStyles.xml"/><Relationship Id="rId4" Type="http://schemas.openxmlformats.org/officeDocument/2006/relationships/handoutMaster" Target="handoutMasters/handout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2878DF0-85D3-46A7-961D-9F81041179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15917D9-A915-4B96-951F-F9C12292A45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0A1590-4B1F-4275-8131-9135CA7B9D45}" type="datetimeFigureOut">
              <a:rPr lang="en-US" smtClean="0"/>
              <a:t>11/3/2020</a:t>
            </a:fld>
            <a:endParaRPr lang="en-US" dirty="0"/>
          </a:p>
        </p:txBody>
      </p:sp>
      <p:sp>
        <p:nvSpPr>
          <p:cNvPr id="4" name="Footer Placeholder 3">
            <a:extLst>
              <a:ext uri="{FF2B5EF4-FFF2-40B4-BE49-F238E27FC236}">
                <a16:creationId xmlns:a16="http://schemas.microsoft.com/office/drawing/2014/main" id="{25559A85-807E-4EAF-90EB-4932539088D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85285413-A611-4E83-84BE-A6BA778A30B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DC1F279-2A65-44B4-8079-DA1ABF0D111A}" type="slidenum">
              <a:rPr lang="en-US" smtClean="0"/>
              <a:t>‹#›</a:t>
            </a:fld>
            <a:endParaRPr lang="en-US" dirty="0"/>
          </a:p>
        </p:txBody>
      </p:sp>
    </p:spTree>
    <p:extLst>
      <p:ext uri="{BB962C8B-B14F-4D97-AF65-F5344CB8AC3E}">
        <p14:creationId xmlns:p14="http://schemas.microsoft.com/office/powerpoint/2010/main" val="3791894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DE889A-FFDD-4932-80FB-289354A1068E}" type="datetimeFigureOut">
              <a:rPr lang="en-ZA" smtClean="0"/>
              <a:t>2020/11/0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E8A37A9-FE17-4661-A82C-7579276A3F74}" type="slidenum">
              <a:rPr lang="en-ZA" smtClean="0"/>
              <a:t>‹#›</a:t>
            </a:fld>
            <a:endParaRPr lang="en-ZA" dirty="0"/>
          </a:p>
        </p:txBody>
      </p:sp>
    </p:spTree>
    <p:extLst>
      <p:ext uri="{BB962C8B-B14F-4D97-AF65-F5344CB8AC3E}">
        <p14:creationId xmlns:p14="http://schemas.microsoft.com/office/powerpoint/2010/main" val="1850066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8A37A9-FE17-4661-A82C-7579276A3F74}" type="slidenum">
              <a:rPr lang="en-ZA" smtClean="0"/>
              <a:t>1</a:t>
            </a:fld>
            <a:endParaRPr lang="en-ZA" dirty="0"/>
          </a:p>
        </p:txBody>
      </p:sp>
    </p:spTree>
    <p:extLst>
      <p:ext uri="{BB962C8B-B14F-4D97-AF65-F5344CB8AC3E}">
        <p14:creationId xmlns:p14="http://schemas.microsoft.com/office/powerpoint/2010/main" val="189929807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20.xml"/><Relationship Id="rId7" Type="http://schemas.openxmlformats.org/officeDocument/2006/relationships/image" Target="../media/image3.png"/><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13.vml"/><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14.vml"/><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15.vml"/><Relationship Id="rId5" Type="http://schemas.openxmlformats.org/officeDocument/2006/relationships/image" Target="../media/image8.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16.vml"/><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17.vml"/><Relationship Id="rId5" Type="http://schemas.openxmlformats.org/officeDocument/2006/relationships/image" Target="../media/image8.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18.vml"/><Relationship Id="rId5" Type="http://schemas.openxmlformats.org/officeDocument/2006/relationships/image" Target="../media/image8.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19.vml"/><Relationship Id="rId5" Type="http://schemas.openxmlformats.org/officeDocument/2006/relationships/image" Target="../media/image8.emf"/><Relationship Id="rId4" Type="http://schemas.openxmlformats.org/officeDocument/2006/relationships/oleObject" Target="../embeddings/oleObject1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20.vml"/><Relationship Id="rId5" Type="http://schemas.openxmlformats.org/officeDocument/2006/relationships/image" Target="../media/image8.emf"/><Relationship Id="rId4" Type="http://schemas.openxmlformats.org/officeDocument/2006/relationships/oleObject" Target="../embeddings/oleObject2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21.vml"/><Relationship Id="rId5" Type="http://schemas.openxmlformats.org/officeDocument/2006/relationships/image" Target="../media/image8.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22.vml"/><Relationship Id="rId5" Type="http://schemas.openxmlformats.org/officeDocument/2006/relationships/image" Target="../media/image8.emf"/><Relationship Id="rId4"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23.vml"/><Relationship Id="rId5" Type="http://schemas.openxmlformats.org/officeDocument/2006/relationships/image" Target="../media/image9.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24.vml"/><Relationship Id="rId5" Type="http://schemas.openxmlformats.org/officeDocument/2006/relationships/image" Target="../media/image9.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25.vml"/><Relationship Id="rId5" Type="http://schemas.openxmlformats.org/officeDocument/2006/relationships/image" Target="../media/image10.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26.vml"/><Relationship Id="rId5" Type="http://schemas.openxmlformats.org/officeDocument/2006/relationships/image" Target="../media/image10.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0.xml"/><Relationship Id="rId7" Type="http://schemas.openxmlformats.org/officeDocument/2006/relationships/image" Target="../media/image3.png"/><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Master" Target="../slideMasters/slideMaster1.xml"/><Relationship Id="rId9" Type="http://schemas.microsoft.com/office/2007/relationships/hdphoto" Target="../media/hdphoto1.wdp"/></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2.tiff"/><Relationship Id="rId3" Type="http://schemas.openxmlformats.org/officeDocument/2006/relationships/tags" Target="../tags/tag52.xml"/><Relationship Id="rId7" Type="http://schemas.openxmlformats.org/officeDocument/2006/relationships/image" Target="../media/image3.png"/><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8.v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10.v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PRP Cover P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22148364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9506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D27C6C-F961-4DDE-91AE-F7106FF284AE}"/>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5" name="doc id" hidden="1"/>
          <p:cNvSpPr txBox="1">
            <a:spLocks noChangeArrowheads="1"/>
          </p:cNvSpPr>
          <p:nvPr/>
        </p:nvSpPr>
        <p:spPr bwMode="auto">
          <a:xfrm>
            <a:off x="11259050"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1067" baseline="0" noProof="0" dirty="0">
              <a:solidFill>
                <a:schemeClr val="bg1"/>
              </a:solidFill>
              <a:latin typeface="+mn-lt"/>
            </a:endParaRPr>
          </a:p>
        </p:txBody>
      </p:sp>
      <p:sp>
        <p:nvSpPr>
          <p:cNvPr id="57" name="Document type" hidden="1"/>
          <p:cNvSpPr txBox="1">
            <a:spLocks noChangeArrowheads="1"/>
          </p:cNvSpPr>
          <p:nvPr/>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bg1"/>
                </a:solidFill>
                <a:latin typeface="+mn-lt"/>
              </a:rPr>
              <a:t>Document type | Date</a:t>
            </a:r>
          </a:p>
        </p:txBody>
      </p:sp>
      <p:sp>
        <p:nvSpPr>
          <p:cNvPr id="26" name="Disclaimer-English (United States)" hidden="1"/>
          <p:cNvSpPr>
            <a:spLocks noChangeArrowheads="1"/>
          </p:cNvSpPr>
          <p:nvPr/>
        </p:nvSpPr>
        <p:spPr bwMode="black">
          <a:xfrm>
            <a:off x="2781424" y="6254081"/>
            <a:ext cx="5120516"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ZA" sz="800" baseline="0" dirty="0">
                <a:solidFill>
                  <a:schemeClr val="bg1"/>
                </a:solidFill>
                <a:latin typeface="+mn-lt"/>
              </a:rPr>
              <a:t>CONFIDENTIAL AND PROPRIETARY</a:t>
            </a:r>
          </a:p>
          <a:p>
            <a:pPr defTabSz="1073204" eaLnBrk="0" hangingPunct="0"/>
            <a:r>
              <a:rPr lang="en-ZA" sz="800" baseline="0" dirty="0">
                <a:solidFill>
                  <a:schemeClr val="bg1"/>
                </a:solidFill>
                <a:latin typeface="+mn-lt"/>
              </a:rPr>
              <a:t>Any use of this material without specific permission is strictly prohibited</a:t>
            </a:r>
            <a:endParaRPr lang="en-US" sz="800" baseline="0" dirty="0">
              <a:solidFill>
                <a:schemeClr val="bg1"/>
              </a:solidFill>
              <a:latin typeface="+mn-lt"/>
            </a:endParaRPr>
          </a:p>
        </p:txBody>
      </p:sp>
      <p:sp>
        <p:nvSpPr>
          <p:cNvPr id="7" name="Working Draft Text" hidden="1">
            <a:extLst>
              <a:ext uri="{FF2B5EF4-FFF2-40B4-BE49-F238E27FC236}">
                <a16:creationId xmlns:a16="http://schemas.microsoft.com/office/drawing/2014/main" id="{8B36C022-4CD7-4AE3-9EB9-C2A7C0991460}"/>
              </a:ext>
            </a:extLst>
          </p:cNvPr>
          <p:cNvSpPr txBox="1"/>
          <p:nvPr/>
        </p:nvSpPr>
        <p:spPr>
          <a:xfrm>
            <a:off x="8064500" y="6223000"/>
            <a:ext cx="1066318" cy="215444"/>
          </a:xfrm>
          <a:prstGeom prst="rect">
            <a:avLst/>
          </a:prstGeom>
          <a:noFill/>
        </p:spPr>
        <p:txBody>
          <a:bodyPr vert="horz" wrap="none" rtlCol="0">
            <a:spAutoFit/>
          </a:bodyPr>
          <a:lstStyle/>
          <a:p>
            <a:r>
              <a:rPr lang="en-ZA" sz="800" b="1" dirty="0">
                <a:solidFill>
                  <a:srgbClr val="FFFFFF"/>
                </a:solidFill>
              </a:rPr>
              <a:t>WORKING DRAFT</a:t>
            </a:r>
          </a:p>
        </p:txBody>
      </p:sp>
      <p:sp>
        <p:nvSpPr>
          <p:cNvPr id="8" name="Working Draft" hidden="1">
            <a:extLst>
              <a:ext uri="{FF2B5EF4-FFF2-40B4-BE49-F238E27FC236}">
                <a16:creationId xmlns:a16="http://schemas.microsoft.com/office/drawing/2014/main" id="{1499DE9C-1052-42CC-A648-F322B77CCA05}"/>
              </a:ext>
            </a:extLst>
          </p:cNvPr>
          <p:cNvSpPr txBox="1"/>
          <p:nvPr/>
        </p:nvSpPr>
        <p:spPr>
          <a:xfrm>
            <a:off x="8064500" y="6350000"/>
            <a:ext cx="3214341" cy="215444"/>
          </a:xfrm>
          <a:prstGeom prst="rect">
            <a:avLst/>
          </a:prstGeom>
          <a:noFill/>
        </p:spPr>
        <p:txBody>
          <a:bodyPr vert="horz" wrap="none" rtlCol="0">
            <a:spAutoFit/>
          </a:bodyPr>
          <a:lstStyle/>
          <a:p>
            <a:r>
              <a:rPr lang="en-US" sz="800">
                <a:solidFill>
                  <a:srgbClr val="FFFFFF"/>
                </a:solidFill>
              </a:rPr>
              <a:t>Last Modified 2020/03/08 22:31 W. Central Africa Standard Time</a:t>
            </a:r>
            <a:endParaRPr lang="en-ZA" sz="800" dirty="0">
              <a:solidFill>
                <a:srgbClr val="FFFFFF"/>
              </a:solidFill>
            </a:endParaRPr>
          </a:p>
        </p:txBody>
      </p:sp>
      <p:sp>
        <p:nvSpPr>
          <p:cNvPr id="9" name="Printed" hidden="1">
            <a:extLst>
              <a:ext uri="{FF2B5EF4-FFF2-40B4-BE49-F238E27FC236}">
                <a16:creationId xmlns:a16="http://schemas.microsoft.com/office/drawing/2014/main" id="{9598A30F-8710-45D8-9018-9E04EB86EFEC}"/>
              </a:ext>
            </a:extLst>
          </p:cNvPr>
          <p:cNvSpPr txBox="1"/>
          <p:nvPr/>
        </p:nvSpPr>
        <p:spPr>
          <a:xfrm>
            <a:off x="8064500" y="6477000"/>
            <a:ext cx="511679" cy="215444"/>
          </a:xfrm>
          <a:prstGeom prst="rect">
            <a:avLst/>
          </a:prstGeom>
          <a:noFill/>
        </p:spPr>
        <p:txBody>
          <a:bodyPr vert="horz" wrap="none" rtlCol="0">
            <a:spAutoFit/>
          </a:bodyPr>
          <a:lstStyle/>
          <a:p>
            <a:r>
              <a:rPr lang="en-ZA" sz="800" dirty="0">
                <a:solidFill>
                  <a:srgbClr val="FFFFFF"/>
                </a:solidFill>
              </a:rPr>
              <a:t>Printed</a:t>
            </a:r>
          </a:p>
        </p:txBody>
      </p:sp>
      <p:grpSp>
        <p:nvGrpSpPr>
          <p:cNvPr id="15" name="Group 14">
            <a:extLst>
              <a:ext uri="{FF2B5EF4-FFF2-40B4-BE49-F238E27FC236}">
                <a16:creationId xmlns:a16="http://schemas.microsoft.com/office/drawing/2014/main" id="{8385FD51-328E-4DE1-9A7D-6F0F5AA58681}"/>
              </a:ext>
            </a:extLst>
          </p:cNvPr>
          <p:cNvGrpSpPr/>
          <p:nvPr userDrawn="1"/>
        </p:nvGrpSpPr>
        <p:grpSpPr>
          <a:xfrm>
            <a:off x="-1" y="-12140"/>
            <a:ext cx="11949114" cy="6745790"/>
            <a:chOff x="-1" y="-12140"/>
            <a:chExt cx="11949114" cy="6745790"/>
          </a:xfrm>
        </p:grpSpPr>
        <p:sp>
          <p:nvSpPr>
            <p:cNvPr id="16" name="Freeform: Shape 15">
              <a:extLst>
                <a:ext uri="{FF2B5EF4-FFF2-40B4-BE49-F238E27FC236}">
                  <a16:creationId xmlns:a16="http://schemas.microsoft.com/office/drawing/2014/main" id="{2D408A2C-9D03-49DA-BC5B-E92FDF580CD0}"/>
                </a:ext>
              </a:extLst>
            </p:cNvPr>
            <p:cNvSpPr/>
            <p:nvPr/>
          </p:nvSpPr>
          <p:spPr>
            <a:xfrm flipH="1">
              <a:off x="-1" y="-12140"/>
              <a:ext cx="11949113" cy="6745790"/>
            </a:xfrm>
            <a:custGeom>
              <a:avLst/>
              <a:gdLst>
                <a:gd name="connsiteX0" fmla="*/ 114300 w 6057900"/>
                <a:gd name="connsiteY0" fmla="*/ 0 h 7442200"/>
                <a:gd name="connsiteX1" fmla="*/ 6057900 w 6057900"/>
                <a:gd name="connsiteY1" fmla="*/ 7442200 h 7442200"/>
                <a:gd name="connsiteX2" fmla="*/ 0 w 6057900"/>
                <a:gd name="connsiteY2" fmla="*/ 7442200 h 7442200"/>
                <a:gd name="connsiteX3" fmla="*/ 114300 w 6057900"/>
                <a:gd name="connsiteY3" fmla="*/ 0 h 7442200"/>
                <a:gd name="connsiteX0" fmla="*/ 14509 w 6057900"/>
                <a:gd name="connsiteY0" fmla="*/ 0 h 7442200"/>
                <a:gd name="connsiteX1" fmla="*/ 6057900 w 6057900"/>
                <a:gd name="connsiteY1" fmla="*/ 7442200 h 7442200"/>
                <a:gd name="connsiteX2" fmla="*/ 0 w 6057900"/>
                <a:gd name="connsiteY2" fmla="*/ 7442200 h 7442200"/>
                <a:gd name="connsiteX3" fmla="*/ 14509 w 6057900"/>
                <a:gd name="connsiteY3" fmla="*/ 0 h 7442200"/>
                <a:gd name="connsiteX0" fmla="*/ 1113 w 6062114"/>
                <a:gd name="connsiteY0" fmla="*/ 0 h 7476655"/>
                <a:gd name="connsiteX1" fmla="*/ 6062114 w 6062114"/>
                <a:gd name="connsiteY1" fmla="*/ 7476655 h 7476655"/>
                <a:gd name="connsiteX2" fmla="*/ 4214 w 6062114"/>
                <a:gd name="connsiteY2" fmla="*/ 7476655 h 7476655"/>
                <a:gd name="connsiteX3" fmla="*/ 1113 w 6062114"/>
                <a:gd name="connsiteY3" fmla="*/ 0 h 7476655"/>
                <a:gd name="connsiteX0" fmla="*/ 1113 w 6062114"/>
                <a:gd name="connsiteY0" fmla="*/ 0 h 7476655"/>
                <a:gd name="connsiteX1" fmla="*/ 3228285 w 6062114"/>
                <a:gd name="connsiteY1" fmla="*/ 4069980 h 7476655"/>
                <a:gd name="connsiteX2" fmla="*/ 6062114 w 6062114"/>
                <a:gd name="connsiteY2" fmla="*/ 7476655 h 7476655"/>
                <a:gd name="connsiteX3" fmla="*/ 4214 w 6062114"/>
                <a:gd name="connsiteY3" fmla="*/ 7476655 h 7476655"/>
                <a:gd name="connsiteX4" fmla="*/ 1113 w 6062114"/>
                <a:gd name="connsiteY4" fmla="*/ 0 h 7476655"/>
                <a:gd name="connsiteX0" fmla="*/ 1113 w 21638234"/>
                <a:gd name="connsiteY0" fmla="*/ 0 h 7476655"/>
                <a:gd name="connsiteX1" fmla="*/ 21638234 w 21638234"/>
                <a:gd name="connsiteY1" fmla="*/ 32302 h 7476655"/>
                <a:gd name="connsiteX2" fmla="*/ 6062114 w 21638234"/>
                <a:gd name="connsiteY2" fmla="*/ 7476655 h 7476655"/>
                <a:gd name="connsiteX3" fmla="*/ 4214 w 21638234"/>
                <a:gd name="connsiteY3" fmla="*/ 7476655 h 7476655"/>
                <a:gd name="connsiteX4" fmla="*/ 1113 w 21638234"/>
                <a:gd name="connsiteY4" fmla="*/ 0 h 7476655"/>
                <a:gd name="connsiteX0" fmla="*/ 1113 w 21492815"/>
                <a:gd name="connsiteY0" fmla="*/ 0 h 7476655"/>
                <a:gd name="connsiteX1" fmla="*/ 21492815 w 21492815"/>
                <a:gd name="connsiteY1" fmla="*/ 64604 h 7476655"/>
                <a:gd name="connsiteX2" fmla="*/ 6062114 w 21492815"/>
                <a:gd name="connsiteY2" fmla="*/ 7476655 h 7476655"/>
                <a:gd name="connsiteX3" fmla="*/ 4214 w 21492815"/>
                <a:gd name="connsiteY3" fmla="*/ 7476655 h 7476655"/>
                <a:gd name="connsiteX4" fmla="*/ 1113 w 21492815"/>
                <a:gd name="connsiteY4" fmla="*/ 0 h 7476655"/>
                <a:gd name="connsiteX0" fmla="*/ 1113 w 21492815"/>
                <a:gd name="connsiteY0" fmla="*/ 0 h 7476655"/>
                <a:gd name="connsiteX1" fmla="*/ 21492815 w 21492815"/>
                <a:gd name="connsiteY1" fmla="*/ 32302 h 7476655"/>
                <a:gd name="connsiteX2" fmla="*/ 6062114 w 21492815"/>
                <a:gd name="connsiteY2" fmla="*/ 7476655 h 7476655"/>
                <a:gd name="connsiteX3" fmla="*/ 4214 w 21492815"/>
                <a:gd name="connsiteY3" fmla="*/ 7476655 h 7476655"/>
                <a:gd name="connsiteX4" fmla="*/ 1113 w 21492815"/>
                <a:gd name="connsiteY4" fmla="*/ 0 h 7476655"/>
                <a:gd name="connsiteX0" fmla="*/ 84153 w 21575855"/>
                <a:gd name="connsiteY0" fmla="*/ 0 h 17910017"/>
                <a:gd name="connsiteX1" fmla="*/ 21575855 w 21575855"/>
                <a:gd name="connsiteY1" fmla="*/ 32302 h 17910017"/>
                <a:gd name="connsiteX2" fmla="*/ 6145154 w 21575855"/>
                <a:gd name="connsiteY2" fmla="*/ 7476655 h 17910017"/>
                <a:gd name="connsiteX3" fmla="*/ 0 w 21575855"/>
                <a:gd name="connsiteY3" fmla="*/ 17910017 h 17910017"/>
                <a:gd name="connsiteX4" fmla="*/ 84153 w 21575855"/>
                <a:gd name="connsiteY4" fmla="*/ 0 h 17910017"/>
                <a:gd name="connsiteX0" fmla="*/ 84153 w 21588569"/>
                <a:gd name="connsiteY0" fmla="*/ 0 h 17910017"/>
                <a:gd name="connsiteX1" fmla="*/ 21575855 w 21588569"/>
                <a:gd name="connsiteY1" fmla="*/ 32302 h 17910017"/>
                <a:gd name="connsiteX2" fmla="*/ 21588569 w 21588569"/>
                <a:gd name="connsiteY2" fmla="*/ 17910017 h 17910017"/>
                <a:gd name="connsiteX3" fmla="*/ 0 w 21588569"/>
                <a:gd name="connsiteY3" fmla="*/ 17910017 h 17910017"/>
                <a:gd name="connsiteX4" fmla="*/ 84153 w 21588569"/>
                <a:gd name="connsiteY4" fmla="*/ 0 h 17910017"/>
                <a:gd name="connsiteX0" fmla="*/ 84153 w 21675819"/>
                <a:gd name="connsiteY0" fmla="*/ 0 h 17910017"/>
                <a:gd name="connsiteX1" fmla="*/ 21575855 w 21675819"/>
                <a:gd name="connsiteY1" fmla="*/ 32302 h 17910017"/>
                <a:gd name="connsiteX2" fmla="*/ 21675819 w 21675819"/>
                <a:gd name="connsiteY2" fmla="*/ 17910017 h 17910017"/>
                <a:gd name="connsiteX3" fmla="*/ 0 w 21675819"/>
                <a:gd name="connsiteY3" fmla="*/ 17910017 h 17910017"/>
                <a:gd name="connsiteX4" fmla="*/ 84153 w 21675819"/>
                <a:gd name="connsiteY4" fmla="*/ 0 h 17910017"/>
                <a:gd name="connsiteX0" fmla="*/ 84153 w 21675819"/>
                <a:gd name="connsiteY0" fmla="*/ 0 h 17910017"/>
                <a:gd name="connsiteX1" fmla="*/ 21575855 w 21675819"/>
                <a:gd name="connsiteY1" fmla="*/ 32302 h 17910017"/>
                <a:gd name="connsiteX2" fmla="*/ 21675819 w 21675819"/>
                <a:gd name="connsiteY2" fmla="*/ 17910017 h 17910017"/>
                <a:gd name="connsiteX3" fmla="*/ 0 w 21675819"/>
                <a:gd name="connsiteY3" fmla="*/ 17910017 h 17910017"/>
                <a:gd name="connsiteX4" fmla="*/ 84153 w 21675819"/>
                <a:gd name="connsiteY4" fmla="*/ 0 h 17910017"/>
                <a:gd name="connsiteX0" fmla="*/ 84153 w 21617651"/>
                <a:gd name="connsiteY0" fmla="*/ 0 h 17910017"/>
                <a:gd name="connsiteX1" fmla="*/ 21575855 w 21617651"/>
                <a:gd name="connsiteY1" fmla="*/ 32302 h 17910017"/>
                <a:gd name="connsiteX2" fmla="*/ 21617651 w 21617651"/>
                <a:gd name="connsiteY2" fmla="*/ 17845415 h 17910017"/>
                <a:gd name="connsiteX3" fmla="*/ 0 w 21617651"/>
                <a:gd name="connsiteY3" fmla="*/ 17910017 h 17910017"/>
                <a:gd name="connsiteX4" fmla="*/ 84153 w 21617651"/>
                <a:gd name="connsiteY4" fmla="*/ 0 h 17910017"/>
                <a:gd name="connsiteX0" fmla="*/ 84153 w 21646735"/>
                <a:gd name="connsiteY0" fmla="*/ 0 h 17942319"/>
                <a:gd name="connsiteX1" fmla="*/ 21575855 w 21646735"/>
                <a:gd name="connsiteY1" fmla="*/ 32302 h 17942319"/>
                <a:gd name="connsiteX2" fmla="*/ 21646735 w 21646735"/>
                <a:gd name="connsiteY2" fmla="*/ 17942319 h 17942319"/>
                <a:gd name="connsiteX3" fmla="*/ 0 w 21646735"/>
                <a:gd name="connsiteY3" fmla="*/ 17910017 h 17942319"/>
                <a:gd name="connsiteX4" fmla="*/ 84153 w 21646735"/>
                <a:gd name="connsiteY4" fmla="*/ 0 h 17942319"/>
                <a:gd name="connsiteX0" fmla="*/ 84153 w 21646735"/>
                <a:gd name="connsiteY0" fmla="*/ 0 h 17942322"/>
                <a:gd name="connsiteX1" fmla="*/ 21575855 w 21646735"/>
                <a:gd name="connsiteY1" fmla="*/ 32302 h 17942322"/>
                <a:gd name="connsiteX2" fmla="*/ 21646735 w 21646735"/>
                <a:gd name="connsiteY2" fmla="*/ 17942322 h 17942322"/>
                <a:gd name="connsiteX3" fmla="*/ 0 w 21646735"/>
                <a:gd name="connsiteY3" fmla="*/ 17910017 h 17942322"/>
                <a:gd name="connsiteX4" fmla="*/ 84153 w 21646735"/>
                <a:gd name="connsiteY4" fmla="*/ 0 h 17942322"/>
                <a:gd name="connsiteX0" fmla="*/ 84153 w 21646735"/>
                <a:gd name="connsiteY0" fmla="*/ 0 h 17942322"/>
                <a:gd name="connsiteX1" fmla="*/ 21575855 w 21646735"/>
                <a:gd name="connsiteY1" fmla="*/ 32302 h 17942322"/>
                <a:gd name="connsiteX2" fmla="*/ 21646735 w 21646735"/>
                <a:gd name="connsiteY2" fmla="*/ 17942322 h 17942322"/>
                <a:gd name="connsiteX3" fmla="*/ 0 w 21646735"/>
                <a:gd name="connsiteY3" fmla="*/ 17910017 h 17942322"/>
                <a:gd name="connsiteX4" fmla="*/ 84153 w 21646735"/>
                <a:gd name="connsiteY4" fmla="*/ 0 h 17942322"/>
                <a:gd name="connsiteX0" fmla="*/ 84153 w 21617651"/>
                <a:gd name="connsiteY0" fmla="*/ 0 h 17942322"/>
                <a:gd name="connsiteX1" fmla="*/ 21575855 w 21617651"/>
                <a:gd name="connsiteY1" fmla="*/ 32302 h 17942322"/>
                <a:gd name="connsiteX2" fmla="*/ 21617651 w 21617651"/>
                <a:gd name="connsiteY2" fmla="*/ 17942322 h 17942322"/>
                <a:gd name="connsiteX3" fmla="*/ 0 w 21617651"/>
                <a:gd name="connsiteY3" fmla="*/ 17910017 h 17942322"/>
                <a:gd name="connsiteX4" fmla="*/ 84153 w 21617651"/>
                <a:gd name="connsiteY4" fmla="*/ 0 h 17942322"/>
                <a:gd name="connsiteX0" fmla="*/ 84153 w 21617651"/>
                <a:gd name="connsiteY0" fmla="*/ 0 h 17974621"/>
                <a:gd name="connsiteX1" fmla="*/ 21575855 w 21617651"/>
                <a:gd name="connsiteY1" fmla="*/ 32302 h 17974621"/>
                <a:gd name="connsiteX2" fmla="*/ 21617651 w 21617651"/>
                <a:gd name="connsiteY2" fmla="*/ 17974621 h 17974621"/>
                <a:gd name="connsiteX3" fmla="*/ 0 w 21617651"/>
                <a:gd name="connsiteY3" fmla="*/ 17910017 h 17974621"/>
                <a:gd name="connsiteX4" fmla="*/ 84153 w 21617651"/>
                <a:gd name="connsiteY4" fmla="*/ 0 h 17974621"/>
                <a:gd name="connsiteX0" fmla="*/ 84153 w 21617651"/>
                <a:gd name="connsiteY0" fmla="*/ 0 h 17974621"/>
                <a:gd name="connsiteX1" fmla="*/ 21575855 w 21617651"/>
                <a:gd name="connsiteY1" fmla="*/ 32302 h 17974621"/>
                <a:gd name="connsiteX2" fmla="*/ 21617651 w 21617651"/>
                <a:gd name="connsiteY2" fmla="*/ 17974621 h 17974621"/>
                <a:gd name="connsiteX3" fmla="*/ 0 w 21617651"/>
                <a:gd name="connsiteY3" fmla="*/ 17910017 h 17974621"/>
                <a:gd name="connsiteX4" fmla="*/ 84153 w 21617651"/>
                <a:gd name="connsiteY4" fmla="*/ 0 h 17974621"/>
                <a:gd name="connsiteX0" fmla="*/ 84153 w 21617651"/>
                <a:gd name="connsiteY0" fmla="*/ 64859 h 18039480"/>
                <a:gd name="connsiteX1" fmla="*/ 21575856 w 21617651"/>
                <a:gd name="connsiteY1" fmla="*/ 0 h 18039480"/>
                <a:gd name="connsiteX2" fmla="*/ 21617651 w 21617651"/>
                <a:gd name="connsiteY2" fmla="*/ 18039480 h 18039480"/>
                <a:gd name="connsiteX3" fmla="*/ 0 w 21617651"/>
                <a:gd name="connsiteY3" fmla="*/ 17974876 h 18039480"/>
                <a:gd name="connsiteX4" fmla="*/ 84153 w 21617651"/>
                <a:gd name="connsiteY4" fmla="*/ 64859 h 18039480"/>
                <a:gd name="connsiteX0" fmla="*/ 84153 w 21636807"/>
                <a:gd name="connsiteY0" fmla="*/ 32472 h 18007093"/>
                <a:gd name="connsiteX1" fmla="*/ 21634059 w 21636807"/>
                <a:gd name="connsiteY1" fmla="*/ 0 h 18007093"/>
                <a:gd name="connsiteX2" fmla="*/ 21617651 w 21636807"/>
                <a:gd name="connsiteY2" fmla="*/ 18007093 h 18007093"/>
                <a:gd name="connsiteX3" fmla="*/ 0 w 21636807"/>
                <a:gd name="connsiteY3" fmla="*/ 17942489 h 18007093"/>
                <a:gd name="connsiteX4" fmla="*/ 84153 w 21636807"/>
                <a:gd name="connsiteY4" fmla="*/ 32472 h 18007093"/>
                <a:gd name="connsiteX0" fmla="*/ 84153 w 21636807"/>
                <a:gd name="connsiteY0" fmla="*/ 32472 h 18007093"/>
                <a:gd name="connsiteX1" fmla="*/ 21634059 w 21636807"/>
                <a:gd name="connsiteY1" fmla="*/ 0 h 18007093"/>
                <a:gd name="connsiteX2" fmla="*/ 21617651 w 21636807"/>
                <a:gd name="connsiteY2" fmla="*/ 18007093 h 18007093"/>
                <a:gd name="connsiteX3" fmla="*/ 0 w 21636807"/>
                <a:gd name="connsiteY3" fmla="*/ 17942489 h 18007093"/>
                <a:gd name="connsiteX4" fmla="*/ 84153 w 21636807"/>
                <a:gd name="connsiteY4" fmla="*/ 32472 h 18007093"/>
                <a:gd name="connsiteX0" fmla="*/ 84153 w 21636807"/>
                <a:gd name="connsiteY0" fmla="*/ 32472 h 18007093"/>
                <a:gd name="connsiteX1" fmla="*/ 21634059 w 21636807"/>
                <a:gd name="connsiteY1" fmla="*/ 0 h 18007093"/>
                <a:gd name="connsiteX2" fmla="*/ 21617651 w 21636807"/>
                <a:gd name="connsiteY2" fmla="*/ 18007093 h 18007093"/>
                <a:gd name="connsiteX3" fmla="*/ 0 w 21636807"/>
                <a:gd name="connsiteY3" fmla="*/ 17942489 h 18007093"/>
                <a:gd name="connsiteX4" fmla="*/ 84153 w 21636807"/>
                <a:gd name="connsiteY4" fmla="*/ 32472 h 18007093"/>
                <a:gd name="connsiteX0" fmla="*/ 84153 w 21635827"/>
                <a:gd name="connsiteY0" fmla="*/ 32472 h 18007093"/>
                <a:gd name="connsiteX1" fmla="*/ 21634059 w 21635827"/>
                <a:gd name="connsiteY1" fmla="*/ 0 h 18007093"/>
                <a:gd name="connsiteX2" fmla="*/ 21588550 w 21635827"/>
                <a:gd name="connsiteY2" fmla="*/ 18007093 h 18007093"/>
                <a:gd name="connsiteX3" fmla="*/ 0 w 21635827"/>
                <a:gd name="connsiteY3" fmla="*/ 17942489 h 18007093"/>
                <a:gd name="connsiteX4" fmla="*/ 84153 w 21635827"/>
                <a:gd name="connsiteY4" fmla="*/ 32472 h 18007093"/>
                <a:gd name="connsiteX0" fmla="*/ 84153 w 21636807"/>
                <a:gd name="connsiteY0" fmla="*/ 32472 h 18007093"/>
                <a:gd name="connsiteX1" fmla="*/ 21634059 w 21636807"/>
                <a:gd name="connsiteY1" fmla="*/ 0 h 18007093"/>
                <a:gd name="connsiteX2" fmla="*/ 21617651 w 21636807"/>
                <a:gd name="connsiteY2" fmla="*/ 18007093 h 18007093"/>
                <a:gd name="connsiteX3" fmla="*/ 0 w 21636807"/>
                <a:gd name="connsiteY3" fmla="*/ 17942489 h 18007093"/>
                <a:gd name="connsiteX4" fmla="*/ 84153 w 21636807"/>
                <a:gd name="connsiteY4" fmla="*/ 32472 h 18007093"/>
                <a:gd name="connsiteX0" fmla="*/ 84153 w 21636807"/>
                <a:gd name="connsiteY0" fmla="*/ 32472 h 18007093"/>
                <a:gd name="connsiteX1" fmla="*/ 21634059 w 21636807"/>
                <a:gd name="connsiteY1" fmla="*/ 0 h 18007093"/>
                <a:gd name="connsiteX2" fmla="*/ 21617651 w 21636807"/>
                <a:gd name="connsiteY2" fmla="*/ 18007093 h 18007093"/>
                <a:gd name="connsiteX3" fmla="*/ 0 w 21636807"/>
                <a:gd name="connsiteY3" fmla="*/ 17974873 h 18007093"/>
                <a:gd name="connsiteX4" fmla="*/ 84153 w 21636807"/>
                <a:gd name="connsiteY4" fmla="*/ 32472 h 18007093"/>
                <a:gd name="connsiteX0" fmla="*/ 84153 w 21636807"/>
                <a:gd name="connsiteY0" fmla="*/ 32471 h 18007093"/>
                <a:gd name="connsiteX1" fmla="*/ 21634059 w 21636807"/>
                <a:gd name="connsiteY1" fmla="*/ 0 h 18007093"/>
                <a:gd name="connsiteX2" fmla="*/ 21617651 w 21636807"/>
                <a:gd name="connsiteY2" fmla="*/ 18007093 h 18007093"/>
                <a:gd name="connsiteX3" fmla="*/ 0 w 21636807"/>
                <a:gd name="connsiteY3" fmla="*/ 17974873 h 18007093"/>
                <a:gd name="connsiteX4" fmla="*/ 84153 w 21636807"/>
                <a:gd name="connsiteY4" fmla="*/ 32471 h 18007093"/>
                <a:gd name="connsiteX0" fmla="*/ 55054 w 21636807"/>
                <a:gd name="connsiteY0" fmla="*/ 32471 h 18007093"/>
                <a:gd name="connsiteX1" fmla="*/ 21634059 w 21636807"/>
                <a:gd name="connsiteY1" fmla="*/ 0 h 18007093"/>
                <a:gd name="connsiteX2" fmla="*/ 21617651 w 21636807"/>
                <a:gd name="connsiteY2" fmla="*/ 18007093 h 18007093"/>
                <a:gd name="connsiteX3" fmla="*/ 0 w 21636807"/>
                <a:gd name="connsiteY3" fmla="*/ 17974873 h 18007093"/>
                <a:gd name="connsiteX4" fmla="*/ 55054 w 21636807"/>
                <a:gd name="connsiteY4" fmla="*/ 32471 h 18007093"/>
                <a:gd name="connsiteX0" fmla="*/ 84155 w 21665908"/>
                <a:gd name="connsiteY0" fmla="*/ 32471 h 18007093"/>
                <a:gd name="connsiteX1" fmla="*/ 21663160 w 21665908"/>
                <a:gd name="connsiteY1" fmla="*/ 0 h 18007093"/>
                <a:gd name="connsiteX2" fmla="*/ 21646752 w 21665908"/>
                <a:gd name="connsiteY2" fmla="*/ 18007093 h 18007093"/>
                <a:gd name="connsiteX3" fmla="*/ 0 w 21665908"/>
                <a:gd name="connsiteY3" fmla="*/ 17974873 h 18007093"/>
                <a:gd name="connsiteX4" fmla="*/ 84155 w 21665908"/>
                <a:gd name="connsiteY4" fmla="*/ 32471 h 18007093"/>
                <a:gd name="connsiteX0" fmla="*/ 391 w 21582144"/>
                <a:gd name="connsiteY0" fmla="*/ 32471 h 18007093"/>
                <a:gd name="connsiteX1" fmla="*/ 21579396 w 21582144"/>
                <a:gd name="connsiteY1" fmla="*/ 0 h 18007093"/>
                <a:gd name="connsiteX2" fmla="*/ 21562988 w 21582144"/>
                <a:gd name="connsiteY2" fmla="*/ 18007093 h 18007093"/>
                <a:gd name="connsiteX3" fmla="*/ 32639 w 21582144"/>
                <a:gd name="connsiteY3" fmla="*/ 17877714 h 18007093"/>
                <a:gd name="connsiteX4" fmla="*/ 391 w 21582144"/>
                <a:gd name="connsiteY4" fmla="*/ 32471 h 18007093"/>
                <a:gd name="connsiteX0" fmla="*/ 391 w 21582144"/>
                <a:gd name="connsiteY0" fmla="*/ 32471 h 18039648"/>
                <a:gd name="connsiteX1" fmla="*/ 21579396 w 21582144"/>
                <a:gd name="connsiteY1" fmla="*/ 0 h 18039648"/>
                <a:gd name="connsiteX2" fmla="*/ 21562988 w 21582144"/>
                <a:gd name="connsiteY2" fmla="*/ 18007093 h 18039648"/>
                <a:gd name="connsiteX3" fmla="*/ 32639 w 21582144"/>
                <a:gd name="connsiteY3" fmla="*/ 18039648 h 18039648"/>
                <a:gd name="connsiteX4" fmla="*/ 391 w 21582144"/>
                <a:gd name="connsiteY4" fmla="*/ 32471 h 18039648"/>
                <a:gd name="connsiteX0" fmla="*/ 391 w 21582144"/>
                <a:gd name="connsiteY0" fmla="*/ 32471 h 18039648"/>
                <a:gd name="connsiteX1" fmla="*/ 21579396 w 21582144"/>
                <a:gd name="connsiteY1" fmla="*/ 0 h 18039648"/>
                <a:gd name="connsiteX2" fmla="*/ 21562988 w 21582144"/>
                <a:gd name="connsiteY2" fmla="*/ 18007093 h 18039648"/>
                <a:gd name="connsiteX3" fmla="*/ 32639 w 21582144"/>
                <a:gd name="connsiteY3" fmla="*/ 18039648 h 18039648"/>
                <a:gd name="connsiteX4" fmla="*/ 391 w 21582144"/>
                <a:gd name="connsiteY4" fmla="*/ 32471 h 18039648"/>
                <a:gd name="connsiteX0" fmla="*/ 391 w 21582144"/>
                <a:gd name="connsiteY0" fmla="*/ 32471 h 18039648"/>
                <a:gd name="connsiteX1" fmla="*/ 21579396 w 21582144"/>
                <a:gd name="connsiteY1" fmla="*/ 0 h 18039648"/>
                <a:gd name="connsiteX2" fmla="*/ 21562988 w 21582144"/>
                <a:gd name="connsiteY2" fmla="*/ 18007093 h 18039648"/>
                <a:gd name="connsiteX3" fmla="*/ 32639 w 21582144"/>
                <a:gd name="connsiteY3" fmla="*/ 18039648 h 18039648"/>
                <a:gd name="connsiteX4" fmla="*/ 391 w 21582144"/>
                <a:gd name="connsiteY4" fmla="*/ 32471 h 18039648"/>
                <a:gd name="connsiteX0" fmla="*/ 1109 w 21582862"/>
                <a:gd name="connsiteY0" fmla="*/ 32471 h 18039648"/>
                <a:gd name="connsiteX1" fmla="*/ 21580114 w 21582862"/>
                <a:gd name="connsiteY1" fmla="*/ 0 h 18039648"/>
                <a:gd name="connsiteX2" fmla="*/ 21563706 w 21582862"/>
                <a:gd name="connsiteY2" fmla="*/ 18007093 h 18039648"/>
                <a:gd name="connsiteX3" fmla="*/ 4258 w 21582862"/>
                <a:gd name="connsiteY3" fmla="*/ 18039648 h 18039648"/>
                <a:gd name="connsiteX4" fmla="*/ 1109 w 21582862"/>
                <a:gd name="connsiteY4" fmla="*/ 32471 h 18039648"/>
                <a:gd name="connsiteX0" fmla="*/ 25953 w 21578604"/>
                <a:gd name="connsiteY0" fmla="*/ 32471 h 18039648"/>
                <a:gd name="connsiteX1" fmla="*/ 21575856 w 21578604"/>
                <a:gd name="connsiteY1" fmla="*/ 0 h 18039648"/>
                <a:gd name="connsiteX2" fmla="*/ 21559448 w 21578604"/>
                <a:gd name="connsiteY2" fmla="*/ 18007093 h 18039648"/>
                <a:gd name="connsiteX3" fmla="*/ 0 w 21578604"/>
                <a:gd name="connsiteY3" fmla="*/ 18039648 h 18039648"/>
                <a:gd name="connsiteX4" fmla="*/ 25953 w 21578604"/>
                <a:gd name="connsiteY4" fmla="*/ 32471 h 18039648"/>
                <a:gd name="connsiteX0" fmla="*/ 25953 w 21578604"/>
                <a:gd name="connsiteY0" fmla="*/ 32471 h 18039648"/>
                <a:gd name="connsiteX1" fmla="*/ 21575856 w 21578604"/>
                <a:gd name="connsiteY1" fmla="*/ 0 h 18039648"/>
                <a:gd name="connsiteX2" fmla="*/ 21559448 w 21578604"/>
                <a:gd name="connsiteY2" fmla="*/ 18007093 h 18039648"/>
                <a:gd name="connsiteX3" fmla="*/ 0 w 21578604"/>
                <a:gd name="connsiteY3" fmla="*/ 18039648 h 18039648"/>
                <a:gd name="connsiteX4" fmla="*/ 25953 w 21578604"/>
                <a:gd name="connsiteY4" fmla="*/ 32471 h 18039648"/>
                <a:gd name="connsiteX0" fmla="*/ 25953 w 21578604"/>
                <a:gd name="connsiteY0" fmla="*/ 84 h 18039648"/>
                <a:gd name="connsiteX1" fmla="*/ 21575856 w 21578604"/>
                <a:gd name="connsiteY1" fmla="*/ 0 h 18039648"/>
                <a:gd name="connsiteX2" fmla="*/ 21559448 w 21578604"/>
                <a:gd name="connsiteY2" fmla="*/ 18007093 h 18039648"/>
                <a:gd name="connsiteX3" fmla="*/ 0 w 21578604"/>
                <a:gd name="connsiteY3" fmla="*/ 18039648 h 18039648"/>
                <a:gd name="connsiteX4" fmla="*/ 25953 w 21578604"/>
                <a:gd name="connsiteY4" fmla="*/ 84 h 18039648"/>
                <a:gd name="connsiteX0" fmla="*/ 1110 w 21582860"/>
                <a:gd name="connsiteY0" fmla="*/ 84 h 18039648"/>
                <a:gd name="connsiteX1" fmla="*/ 21580112 w 21582860"/>
                <a:gd name="connsiteY1" fmla="*/ 0 h 18039648"/>
                <a:gd name="connsiteX2" fmla="*/ 21563704 w 21582860"/>
                <a:gd name="connsiteY2" fmla="*/ 18007093 h 18039648"/>
                <a:gd name="connsiteX3" fmla="*/ 4256 w 21582860"/>
                <a:gd name="connsiteY3" fmla="*/ 18039648 h 18039648"/>
                <a:gd name="connsiteX4" fmla="*/ 1110 w 21582860"/>
                <a:gd name="connsiteY4" fmla="*/ 84 h 18039648"/>
                <a:gd name="connsiteX0" fmla="*/ 1109 w 21582860"/>
                <a:gd name="connsiteY0" fmla="*/ 84 h 18039648"/>
                <a:gd name="connsiteX1" fmla="*/ 21580112 w 21582860"/>
                <a:gd name="connsiteY1" fmla="*/ 0 h 18039648"/>
                <a:gd name="connsiteX2" fmla="*/ 21563704 w 21582860"/>
                <a:gd name="connsiteY2" fmla="*/ 18007093 h 18039648"/>
                <a:gd name="connsiteX3" fmla="*/ 4256 w 21582860"/>
                <a:gd name="connsiteY3" fmla="*/ 18039648 h 18039648"/>
                <a:gd name="connsiteX4" fmla="*/ 1109 w 21582860"/>
                <a:gd name="connsiteY4" fmla="*/ 84 h 18039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82860" h="18039648">
                  <a:moveTo>
                    <a:pt x="1109" y="84"/>
                  </a:moveTo>
                  <a:lnTo>
                    <a:pt x="21580112" y="0"/>
                  </a:lnTo>
                  <a:cubicBezTo>
                    <a:pt x="21594044" y="6013160"/>
                    <a:pt x="21549772" y="11993933"/>
                    <a:pt x="21563704" y="18007093"/>
                  </a:cubicBezTo>
                  <a:lnTo>
                    <a:pt x="4256" y="18039648"/>
                  </a:lnTo>
                  <a:cubicBezTo>
                    <a:pt x="9092" y="15558915"/>
                    <a:pt x="-3727" y="2480817"/>
                    <a:pt x="1109" y="84"/>
                  </a:cubicBezTo>
                  <a:close/>
                </a:path>
              </a:pathLst>
            </a:custGeom>
            <a:gradFill>
              <a:gsLst>
                <a:gs pos="0">
                  <a:schemeClr val="accent3">
                    <a:lumMod val="50000"/>
                  </a:schemeClr>
                </a:gs>
                <a:gs pos="0">
                  <a:schemeClr val="tx2"/>
                </a:gs>
                <a:gs pos="100000">
                  <a:schemeClr val="accent3"/>
                </a:gs>
              </a:gsLst>
              <a:lin ang="162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GB" sz="1568" dirty="0">
                <a:solidFill>
                  <a:srgbClr val="000000"/>
                </a:solidFill>
                <a:latin typeface="Arial"/>
              </a:endParaRPr>
            </a:p>
          </p:txBody>
        </p:sp>
        <p:pic>
          <p:nvPicPr>
            <p:cNvPr id="17" name="Picture 16">
              <a:extLst>
                <a:ext uri="{FF2B5EF4-FFF2-40B4-BE49-F238E27FC236}">
                  <a16:creationId xmlns:a16="http://schemas.microsoft.com/office/drawing/2014/main" id="{BFD2879B-A6B6-4CA1-B81A-616B5F81C8AA}"/>
                </a:ext>
              </a:extLst>
            </p:cNvPr>
            <p:cNvPicPr>
              <a:picLocks noChangeAspect="1"/>
            </p:cNvPicPr>
            <p:nvPr/>
          </p:nvPicPr>
          <p:blipFill>
            <a:blip r:embed="rId7"/>
            <a:srcRect r="27807"/>
            <a:stretch>
              <a:fillRect/>
            </a:stretch>
          </p:blipFill>
          <p:spPr>
            <a:xfrm>
              <a:off x="2969353" y="392068"/>
              <a:ext cx="6504920" cy="6210967"/>
            </a:xfrm>
            <a:custGeom>
              <a:avLst/>
              <a:gdLst>
                <a:gd name="connsiteX0" fmla="*/ 0 w 5994518"/>
                <a:gd name="connsiteY0" fmla="*/ 0 h 6242845"/>
                <a:gd name="connsiteX1" fmla="*/ 26078 w 5994518"/>
                <a:gd name="connsiteY1" fmla="*/ 0 h 6242845"/>
                <a:gd name="connsiteX2" fmla="*/ 5994518 w 5994518"/>
                <a:gd name="connsiteY2" fmla="*/ 6242845 h 6242845"/>
                <a:gd name="connsiteX3" fmla="*/ 0 w 5994518"/>
                <a:gd name="connsiteY3" fmla="*/ 6242845 h 6242845"/>
              </a:gdLst>
              <a:ahLst/>
              <a:cxnLst>
                <a:cxn ang="0">
                  <a:pos x="connsiteX0" y="connsiteY0"/>
                </a:cxn>
                <a:cxn ang="0">
                  <a:pos x="connsiteX1" y="connsiteY1"/>
                </a:cxn>
                <a:cxn ang="0">
                  <a:pos x="connsiteX2" y="connsiteY2"/>
                </a:cxn>
                <a:cxn ang="0">
                  <a:pos x="connsiteX3" y="connsiteY3"/>
                </a:cxn>
              </a:cxnLst>
              <a:rect l="l" t="t" r="r" b="b"/>
              <a:pathLst>
                <a:path w="5994518" h="6242845">
                  <a:moveTo>
                    <a:pt x="0" y="0"/>
                  </a:moveTo>
                  <a:lnTo>
                    <a:pt x="26078" y="0"/>
                  </a:lnTo>
                  <a:lnTo>
                    <a:pt x="5994518" y="6242845"/>
                  </a:lnTo>
                  <a:lnTo>
                    <a:pt x="0" y="6242845"/>
                  </a:lnTo>
                  <a:close/>
                </a:path>
              </a:pathLst>
            </a:custGeom>
          </p:spPr>
        </p:pic>
        <p:pic>
          <p:nvPicPr>
            <p:cNvPr id="18" name="Picture 17">
              <a:extLst>
                <a:ext uri="{FF2B5EF4-FFF2-40B4-BE49-F238E27FC236}">
                  <a16:creationId xmlns:a16="http://schemas.microsoft.com/office/drawing/2014/main" id="{5EC4A094-B6BE-4855-B677-15F91C48CB83}"/>
                </a:ext>
              </a:extLst>
            </p:cNvPr>
            <p:cNvPicPr>
              <a:picLocks/>
            </p:cNvPicPr>
            <p:nvPr/>
          </p:nvPicPr>
          <p:blipFill rotWithShape="1">
            <a:blip r:embed="rId8">
              <a:duotone>
                <a:prstClr val="black"/>
                <a:schemeClr val="accent4">
                  <a:tint val="45000"/>
                  <a:satMod val="400000"/>
                </a:schemeClr>
              </a:duotone>
            </a:blip>
            <a:srcRect l="3521" r="3521"/>
            <a:stretch/>
          </p:blipFill>
          <p:spPr>
            <a:xfrm>
              <a:off x="2919535" y="0"/>
              <a:ext cx="9029578" cy="6294920"/>
            </a:xfrm>
            <a:custGeom>
              <a:avLst/>
              <a:gdLst>
                <a:gd name="connsiteX0" fmla="*/ 0 w 9029578"/>
                <a:gd name="connsiteY0" fmla="*/ 0 h 6294920"/>
                <a:gd name="connsiteX1" fmla="*/ 9029578 w 9029578"/>
                <a:gd name="connsiteY1" fmla="*/ 0 h 6294920"/>
                <a:gd name="connsiteX2" fmla="*/ 9029578 w 9029578"/>
                <a:gd name="connsiteY2" fmla="*/ 6282810 h 6294920"/>
                <a:gd name="connsiteX3" fmla="*/ 6752357 w 9029578"/>
                <a:gd name="connsiteY3" fmla="*/ 6294920 h 6294920"/>
              </a:gdLst>
              <a:ahLst/>
              <a:cxnLst>
                <a:cxn ang="0">
                  <a:pos x="connsiteX0" y="connsiteY0"/>
                </a:cxn>
                <a:cxn ang="0">
                  <a:pos x="connsiteX1" y="connsiteY1"/>
                </a:cxn>
                <a:cxn ang="0">
                  <a:pos x="connsiteX2" y="connsiteY2"/>
                </a:cxn>
                <a:cxn ang="0">
                  <a:pos x="connsiteX3" y="connsiteY3"/>
                </a:cxn>
              </a:cxnLst>
              <a:rect l="l" t="t" r="r" b="b"/>
              <a:pathLst>
                <a:path w="9029578" h="6294920">
                  <a:moveTo>
                    <a:pt x="0" y="0"/>
                  </a:moveTo>
                  <a:lnTo>
                    <a:pt x="9029578" y="0"/>
                  </a:lnTo>
                  <a:lnTo>
                    <a:pt x="9029578" y="6282810"/>
                  </a:lnTo>
                  <a:lnTo>
                    <a:pt x="6752357" y="6294920"/>
                  </a:lnTo>
                  <a:close/>
                </a:path>
              </a:pathLst>
            </a:custGeom>
          </p:spPr>
        </p:pic>
      </p:grpSp>
      <p:sp>
        <p:nvSpPr>
          <p:cNvPr id="19" name="Title">
            <a:extLst>
              <a:ext uri="{FF2B5EF4-FFF2-40B4-BE49-F238E27FC236}">
                <a16:creationId xmlns:a16="http://schemas.microsoft.com/office/drawing/2014/main" id="{BEC54C09-856D-452F-BBC5-9BC6E4AAF708}"/>
              </a:ext>
            </a:extLst>
          </p:cNvPr>
          <p:cNvSpPr>
            <a:spLocks noGrp="1" noChangeArrowheads="1"/>
          </p:cNvSpPr>
          <p:nvPr>
            <p:ph type="ctrTitle" hasCustomPrompt="1"/>
          </p:nvPr>
        </p:nvSpPr>
        <p:spPr bwMode="auto">
          <a:xfrm>
            <a:off x="494514" y="2606460"/>
            <a:ext cx="4100346" cy="965136"/>
          </a:xfrm>
          <a:prstGeom prst="rect">
            <a:avLst/>
          </a:prstGeom>
          <a:solidFill>
            <a:schemeClr val="bg1">
              <a:alpha val="30000"/>
            </a:schemeClr>
          </a:solidFill>
          <a:ln>
            <a:noFill/>
          </a:ln>
          <a:effectLst/>
        </p:spPr>
        <p:txBody>
          <a:bodyPr vert="horz" wrap="square" lIns="0" tIns="0" rIns="0" bIns="0" numCol="1" anchor="t" anchorCtr="0" compatLnSpc="1">
            <a:prstTxWarp prst="textNoShape">
              <a:avLst/>
            </a:prstTxWarp>
            <a:spAutoFit/>
          </a:bodyPr>
          <a:lstStyle>
            <a:lvl1pPr>
              <a:defRPr lang="x-none" sz="3136" b="1" noProof="0" dirty="0">
                <a:solidFill>
                  <a:schemeClr val="bg1"/>
                </a:solidFill>
                <a:latin typeface="+mj-lt"/>
              </a:defRPr>
            </a:lvl1pPr>
          </a:lstStyle>
          <a:p>
            <a:pPr lvl="0" algn="l" defTabSz="877533" rtl="0" eaLnBrk="1" fontAlgn="base" hangingPunct="1">
              <a:spcBef>
                <a:spcPct val="0"/>
              </a:spcBef>
              <a:spcAft>
                <a:spcPct val="0"/>
              </a:spcAft>
              <a:buNone/>
              <a:tabLst>
                <a:tab pos="264504" algn="l"/>
              </a:tabLst>
            </a:pPr>
            <a:r>
              <a:rPr lang="en-US" noProof="0" dirty="0"/>
              <a:t>Click to edit presentation title</a:t>
            </a:r>
          </a:p>
        </p:txBody>
      </p:sp>
      <p:sp>
        <p:nvSpPr>
          <p:cNvPr id="20" name="Subtitle">
            <a:extLst>
              <a:ext uri="{FF2B5EF4-FFF2-40B4-BE49-F238E27FC236}">
                <a16:creationId xmlns:a16="http://schemas.microsoft.com/office/drawing/2014/main" id="{22C7B8B0-5FE8-4813-91CD-BC0F7278C845}"/>
              </a:ext>
            </a:extLst>
          </p:cNvPr>
          <p:cNvSpPr>
            <a:spLocks noGrp="1" noChangeArrowheads="1"/>
          </p:cNvSpPr>
          <p:nvPr>
            <p:ph type="subTitle" idx="1" hasCustomPrompt="1"/>
          </p:nvPr>
        </p:nvSpPr>
        <p:spPr bwMode="auto">
          <a:xfrm>
            <a:off x="494514" y="3632446"/>
            <a:ext cx="4100346" cy="271485"/>
          </a:xfrm>
          <a:prstGeom prst="rect">
            <a:avLst/>
          </a:prstGeom>
          <a:solidFill>
            <a:schemeClr val="bg1">
              <a:alpha val="30000"/>
            </a:schemeClr>
          </a:solidFill>
        </p:spPr>
        <p:txBody>
          <a:bodyPr vert="horz" wrap="square" lIns="0" tIns="0" rIns="0" bIns="0" rtlCol="0">
            <a:spAutoFit/>
          </a:bodyPr>
          <a:lstStyle>
            <a:lvl1pPr>
              <a:defRPr lang="x-none" sz="1764" cap="none" noProof="0" dirty="0">
                <a:solidFill>
                  <a:schemeClr val="bg1"/>
                </a:solidFill>
                <a:latin typeface="+mj-lt"/>
              </a:defRPr>
            </a:lvl1pPr>
          </a:lstStyle>
          <a:p>
            <a:pPr marL="0" lvl="0" indent="0" algn="l" defTabSz="877533" rtl="0" eaLnBrk="1" fontAlgn="base" hangingPunct="1">
              <a:spcBef>
                <a:spcPct val="0"/>
              </a:spcBef>
              <a:spcAft>
                <a:spcPct val="0"/>
              </a:spcAft>
              <a:buClr>
                <a:schemeClr val="tx2"/>
              </a:buClr>
              <a:buSzPct val="100000"/>
              <a:buNone/>
            </a:pPr>
            <a:r>
              <a:rPr lang="en-US" noProof="0" dirty="0"/>
              <a:t>Click to edit presentation subtitle</a:t>
            </a:r>
          </a:p>
        </p:txBody>
      </p:sp>
      <p:sp>
        <p:nvSpPr>
          <p:cNvPr id="21" name="doc id">
            <a:extLst>
              <a:ext uri="{FF2B5EF4-FFF2-40B4-BE49-F238E27FC236}">
                <a16:creationId xmlns:a16="http://schemas.microsoft.com/office/drawing/2014/main" id="{B77C1644-D4CF-492B-85C4-12A5D691C8AD}"/>
              </a:ext>
            </a:extLst>
          </p:cNvPr>
          <p:cNvSpPr txBox="1">
            <a:spLocks noChangeArrowheads="1"/>
          </p:cNvSpPr>
          <p:nvPr userDrawn="1"/>
        </p:nvSpPr>
        <p:spPr bwMode="white">
          <a:xfrm>
            <a:off x="11259050" y="36513"/>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784" baseline="0" dirty="0">
              <a:solidFill>
                <a:srgbClr val="FFFFFF"/>
              </a:solidFill>
              <a:latin typeface="+mn-lt"/>
            </a:endParaRPr>
          </a:p>
        </p:txBody>
      </p:sp>
    </p:spTree>
    <p:extLst>
      <p:ext uri="{BB962C8B-B14F-4D97-AF65-F5344CB8AC3E}">
        <p14:creationId xmlns:p14="http://schemas.microsoft.com/office/powerpoint/2010/main" val="42732743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1F080BD-8B67-467F-8DB9-EC3978ACC3E5}"/>
              </a:ext>
            </a:extLst>
          </p:cNvPr>
          <p:cNvGraphicFramePr>
            <a:graphicFrameLocks noChangeAspect="1"/>
          </p:cNvGraphicFramePr>
          <p:nvPr userDrawn="1">
            <p:custDataLst>
              <p:tags r:id="rId2"/>
            </p:custDataLst>
            <p:extLst>
              <p:ext uri="{D42A27DB-BD31-4B8C-83A1-F6EECF244321}">
                <p14:modId xmlns:p14="http://schemas.microsoft.com/office/powerpoint/2010/main" val="2205364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56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80888AD-736A-49C6-B26D-D388728CBD5C}"/>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a:xfrm>
            <a:off x="434976" y="230189"/>
            <a:ext cx="11027432" cy="369332"/>
          </a:xfrm>
        </p:spPr>
        <p:txBody>
          <a:bodyPr/>
          <a:lstStyle>
            <a:lvl1pPr>
              <a:defRPr sz="2400" baseline="0"/>
            </a:lvl1pPr>
          </a:lstStyle>
          <a:p>
            <a:r>
              <a:rPr lang="en-US"/>
              <a:t>Click to edit Master title style</a:t>
            </a:r>
            <a:endParaRPr lang="en-US" dirty="0"/>
          </a:p>
        </p:txBody>
      </p:sp>
      <p:sp>
        <p:nvSpPr>
          <p:cNvPr id="5" name="doc id" hidden="1"/>
          <p:cNvSpPr>
            <a:spLocks noChangeArrowheads="1"/>
          </p:cNvSpPr>
          <p:nvPr/>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en-US" sz="600" baseline="0" dirty="0">
              <a:solidFill>
                <a:srgbClr val="808080"/>
              </a:solidFill>
              <a:latin typeface="+mn-lt"/>
              <a:ea typeface="+mn-ea"/>
            </a:endParaRPr>
          </a:p>
        </p:txBody>
      </p:sp>
      <p:sp>
        <p:nvSpPr>
          <p:cNvPr id="7" name="Slide Number Placeholder 3">
            <a:extLst>
              <a:ext uri="{FF2B5EF4-FFF2-40B4-BE49-F238E27FC236}">
                <a16:creationId xmlns:a16="http://schemas.microsoft.com/office/drawing/2014/main" id="{E8F7E0FC-D1AE-7B46-8A95-1F7E33A7B126}"/>
              </a:ext>
            </a:extLst>
          </p:cNvPr>
          <p:cNvSpPr>
            <a:spLocks noGrp="1"/>
          </p:cNvSpPr>
          <p:nvPr>
            <p:ph type="sldNum" sz="quarter" idx="4"/>
          </p:nvPr>
        </p:nvSpPr>
        <p:spPr>
          <a:xfrm>
            <a:off x="8809038" y="6126163"/>
            <a:ext cx="2689225" cy="331787"/>
          </a:xfrm>
          <a:prstGeom prst="rect">
            <a:avLst/>
          </a:prstGeom>
        </p:spPr>
        <p:txBody>
          <a:bodyPr vert="horz" lIns="91440" tIns="45720" rIns="91440" bIns="45720" rtlCol="0" anchor="ctr"/>
          <a:lstStyle>
            <a:lvl1pPr algn="r">
              <a:defRPr sz="1200">
                <a:solidFill>
                  <a:schemeClr val="tx1">
                    <a:tint val="75000"/>
                  </a:schemeClr>
                </a:solidFill>
              </a:defRPr>
            </a:lvl1pPr>
          </a:lstStyle>
          <a:p>
            <a:fld id="{3D314921-4E57-464F-A582-181EFAE3A0A8}" type="slidenum">
              <a:rPr lang="en-US" smtClean="0"/>
              <a:t>‹#›</a:t>
            </a:fld>
            <a:endParaRPr lang="en-US"/>
          </a:p>
        </p:txBody>
      </p:sp>
    </p:spTree>
    <p:extLst>
      <p:ext uri="{BB962C8B-B14F-4D97-AF65-F5344CB8AC3E}">
        <p14:creationId xmlns:p14="http://schemas.microsoft.com/office/powerpoint/2010/main" val="740309133"/>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1F080BD-8B67-467F-8DB9-EC3978ACC3E5}"/>
              </a:ext>
            </a:extLst>
          </p:cNvPr>
          <p:cNvGraphicFramePr>
            <a:graphicFrameLocks noChangeAspect="1"/>
          </p:cNvGraphicFramePr>
          <p:nvPr userDrawn="1">
            <p:custDataLst>
              <p:tags r:id="rId2"/>
            </p:custDataLst>
            <p:extLst>
              <p:ext uri="{D42A27DB-BD31-4B8C-83A1-F6EECF244321}">
                <p14:modId xmlns:p14="http://schemas.microsoft.com/office/powerpoint/2010/main" val="3567950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567"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71F080BD-8B67-467F-8DB9-EC3978ACC3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80888AD-736A-49C6-B26D-D388728CBD5C}"/>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6" name="Rectangle 5">
            <a:extLst>
              <a:ext uri="{FF2B5EF4-FFF2-40B4-BE49-F238E27FC236}">
                <a16:creationId xmlns:a16="http://schemas.microsoft.com/office/drawing/2014/main" id="{1AD461C8-168E-744C-90E1-FE63031D404B}"/>
              </a:ext>
            </a:extLst>
          </p:cNvPr>
          <p:cNvSpPr/>
          <p:nvPr userDrawn="1"/>
        </p:nvSpPr>
        <p:spPr>
          <a:xfrm>
            <a:off x="-1" y="1589"/>
            <a:ext cx="11949113" cy="6721475"/>
          </a:xfrm>
          <a:prstGeom prst="rect">
            <a:avLst/>
          </a:prstGeom>
          <a:solidFill>
            <a:srgbClr val="176739"/>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 name="2. Slide Title"/>
          <p:cNvSpPr>
            <a:spLocks noGrp="1"/>
          </p:cNvSpPr>
          <p:nvPr>
            <p:ph type="title"/>
          </p:nvPr>
        </p:nvSpPr>
        <p:spPr bwMode="gray">
          <a:xfrm>
            <a:off x="434976" y="230189"/>
            <a:ext cx="11063288" cy="369332"/>
          </a:xfrm>
        </p:spPr>
        <p:txBody>
          <a:bodyPr/>
          <a:lstStyle>
            <a:lvl1pPr>
              <a:defRPr sz="2400" baseline="0">
                <a:solidFill>
                  <a:schemeClr val="bg1"/>
                </a:solidFill>
              </a:defRPr>
            </a:lvl1pPr>
          </a:lstStyle>
          <a:p>
            <a:r>
              <a:rPr lang="en-US" dirty="0"/>
              <a:t>Click to edit Master title style</a:t>
            </a:r>
          </a:p>
        </p:txBody>
      </p:sp>
      <p:sp>
        <p:nvSpPr>
          <p:cNvPr id="5" name="doc id" hidden="1"/>
          <p:cNvSpPr>
            <a:spLocks noChangeArrowheads="1"/>
          </p:cNvSpPr>
          <p:nvPr/>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en-US" sz="600" baseline="0" dirty="0">
              <a:solidFill>
                <a:srgbClr val="808080"/>
              </a:solidFill>
              <a:latin typeface="+mn-lt"/>
              <a:ea typeface="+mn-ea"/>
            </a:endParaRPr>
          </a:p>
        </p:txBody>
      </p:sp>
      <p:sp>
        <p:nvSpPr>
          <p:cNvPr id="9" name="Slide Number Placeholder 3">
            <a:extLst>
              <a:ext uri="{FF2B5EF4-FFF2-40B4-BE49-F238E27FC236}">
                <a16:creationId xmlns:a16="http://schemas.microsoft.com/office/drawing/2014/main" id="{DA1F1E05-815A-2C4B-9BCB-B5D0CF2118CE}"/>
              </a:ext>
            </a:extLst>
          </p:cNvPr>
          <p:cNvSpPr>
            <a:spLocks noGrp="1"/>
          </p:cNvSpPr>
          <p:nvPr>
            <p:ph type="sldNum" sz="quarter" idx="4"/>
          </p:nvPr>
        </p:nvSpPr>
        <p:spPr>
          <a:xfrm>
            <a:off x="8809038" y="6126163"/>
            <a:ext cx="2689225" cy="331787"/>
          </a:xfrm>
          <a:prstGeom prst="rect">
            <a:avLst/>
          </a:prstGeom>
        </p:spPr>
        <p:txBody>
          <a:bodyPr vert="horz" lIns="91440" tIns="45720" rIns="91440" bIns="45720" rtlCol="0" anchor="ctr"/>
          <a:lstStyle>
            <a:lvl1pPr algn="r">
              <a:defRPr sz="1200">
                <a:solidFill>
                  <a:schemeClr val="tx1">
                    <a:tint val="75000"/>
                  </a:schemeClr>
                </a:solidFill>
              </a:defRPr>
            </a:lvl1pPr>
          </a:lstStyle>
          <a:p>
            <a:fld id="{3D314921-4E57-464F-A582-181EFAE3A0A8}" type="slidenum">
              <a:rPr lang="en-US" smtClean="0"/>
              <a:t>‹#›</a:t>
            </a:fld>
            <a:endParaRPr lang="en-US"/>
          </a:p>
        </p:txBody>
      </p:sp>
    </p:spTree>
    <p:extLst>
      <p:ext uri="{BB962C8B-B14F-4D97-AF65-F5344CB8AC3E}">
        <p14:creationId xmlns:p14="http://schemas.microsoft.com/office/powerpoint/2010/main" val="3228098502"/>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BG Big Statement 1">
    <p:bg>
      <p:bgRef idx="1001">
        <a:schemeClr val="bg1"/>
      </p:bgRef>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17449" y="3360738"/>
            <a:ext cx="10715391" cy="2893967"/>
          </a:xfrm>
          <a:prstGeom prst="rect">
            <a:avLst/>
          </a:prstGeom>
        </p:spPr>
        <p:txBody>
          <a:bodyPr anchor="b">
            <a:noAutofit/>
          </a:bodyPr>
          <a:lstStyle>
            <a:lvl1pPr marL="0" algn="ctr" defTabSz="896203" rtl="0" eaLnBrk="1" fontAlgn="auto" latinLnBrk="0" hangingPunct="1">
              <a:lnSpc>
                <a:spcPts val="5881"/>
              </a:lnSpc>
              <a:spcBef>
                <a:spcPts val="0"/>
              </a:spcBef>
              <a:spcAft>
                <a:spcPts val="0"/>
              </a:spcAft>
              <a:defRPr lang="en-US" sz="5293"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350899" y="5016002"/>
            <a:ext cx="2688590" cy="95019"/>
          </a:xfrm>
          <a:prstGeom prst="rect">
            <a:avLst/>
          </a:prstGeom>
          <a:noFill/>
        </p:spPr>
        <p:txBody>
          <a:bodyPr wrap="square" lIns="0" tIns="0" rIns="0" bIns="0" rtlCol="0" anchor="b">
            <a:spAutoFit/>
          </a:bodyPr>
          <a:lstStyle/>
          <a:p>
            <a:pPr>
              <a:lnSpc>
                <a:spcPct val="90000"/>
              </a:lnSpc>
              <a:spcAft>
                <a:spcPts val="588"/>
              </a:spcAft>
            </a:pPr>
            <a:r>
              <a:rPr lang="en-US" sz="686" dirty="0">
                <a:solidFill>
                  <a:schemeClr val="bg1">
                    <a:lumMod val="50000"/>
                  </a:schemeClr>
                </a:solidFill>
                <a:latin typeface="+mn-lt"/>
                <a:sym typeface="Trebuchet MS" panose="020B0603020202020204" pitchFamily="34" charset="0"/>
              </a:rPr>
              <a:t>Sample Slides_16x9.pptx</a:t>
            </a:r>
          </a:p>
        </p:txBody>
      </p:sp>
      <p:pic>
        <p:nvPicPr>
          <p:cNvPr id="6" name="Picture 5">
            <a:extLst>
              <a:ext uri="{FF2B5EF4-FFF2-40B4-BE49-F238E27FC236}">
                <a16:creationId xmlns:a16="http://schemas.microsoft.com/office/drawing/2014/main" id="{62D09974-DBCC-744F-A3DE-EF677CF9D6F9}"/>
              </a:ext>
            </a:extLst>
          </p:cNvPr>
          <p:cNvPicPr>
            <a:picLocks noChangeAspect="1"/>
          </p:cNvPicPr>
          <p:nvPr userDrawn="1"/>
        </p:nvPicPr>
        <p:blipFill>
          <a:blip r:embed="rId3"/>
          <a:srcRect r="27807"/>
          <a:stretch>
            <a:fillRect/>
          </a:stretch>
        </p:blipFill>
        <p:spPr>
          <a:xfrm flipH="1" flipV="1">
            <a:off x="7391399" y="-301404"/>
            <a:ext cx="4446305" cy="4245379"/>
          </a:xfrm>
          <a:custGeom>
            <a:avLst/>
            <a:gdLst>
              <a:gd name="connsiteX0" fmla="*/ 0 w 5994518"/>
              <a:gd name="connsiteY0" fmla="*/ 0 h 6242845"/>
              <a:gd name="connsiteX1" fmla="*/ 26078 w 5994518"/>
              <a:gd name="connsiteY1" fmla="*/ 0 h 6242845"/>
              <a:gd name="connsiteX2" fmla="*/ 5994518 w 5994518"/>
              <a:gd name="connsiteY2" fmla="*/ 6242845 h 6242845"/>
              <a:gd name="connsiteX3" fmla="*/ 0 w 5994518"/>
              <a:gd name="connsiteY3" fmla="*/ 6242845 h 6242845"/>
            </a:gdLst>
            <a:ahLst/>
            <a:cxnLst>
              <a:cxn ang="0">
                <a:pos x="connsiteX0" y="connsiteY0"/>
              </a:cxn>
              <a:cxn ang="0">
                <a:pos x="connsiteX1" y="connsiteY1"/>
              </a:cxn>
              <a:cxn ang="0">
                <a:pos x="connsiteX2" y="connsiteY2"/>
              </a:cxn>
              <a:cxn ang="0">
                <a:pos x="connsiteX3" y="connsiteY3"/>
              </a:cxn>
            </a:cxnLst>
            <a:rect l="l" t="t" r="r" b="b"/>
            <a:pathLst>
              <a:path w="5994518" h="6242845">
                <a:moveTo>
                  <a:pt x="0" y="0"/>
                </a:moveTo>
                <a:lnTo>
                  <a:pt x="26078" y="0"/>
                </a:lnTo>
                <a:lnTo>
                  <a:pt x="5994518" y="6242845"/>
                </a:lnTo>
                <a:lnTo>
                  <a:pt x="0" y="6242845"/>
                </a:lnTo>
                <a:close/>
              </a:path>
            </a:pathLst>
          </a:custGeom>
        </p:spPr>
      </p:pic>
      <p:sp>
        <p:nvSpPr>
          <p:cNvPr id="9" name="Slide Number Placeholder 3">
            <a:extLst>
              <a:ext uri="{FF2B5EF4-FFF2-40B4-BE49-F238E27FC236}">
                <a16:creationId xmlns:a16="http://schemas.microsoft.com/office/drawing/2014/main" id="{50D64894-A934-7147-A9D3-34B0AE41079A}"/>
              </a:ext>
            </a:extLst>
          </p:cNvPr>
          <p:cNvSpPr>
            <a:spLocks noGrp="1"/>
          </p:cNvSpPr>
          <p:nvPr>
            <p:ph type="sldNum" sz="quarter" idx="4"/>
          </p:nvPr>
        </p:nvSpPr>
        <p:spPr>
          <a:xfrm>
            <a:off x="8809038" y="6126163"/>
            <a:ext cx="2689225" cy="331787"/>
          </a:xfrm>
          <a:prstGeom prst="rect">
            <a:avLst/>
          </a:prstGeom>
        </p:spPr>
        <p:txBody>
          <a:bodyPr vert="horz" lIns="91440" tIns="45720" rIns="91440" bIns="45720" rtlCol="0" anchor="ctr"/>
          <a:lstStyle>
            <a:lvl1pPr algn="r">
              <a:defRPr sz="1200">
                <a:solidFill>
                  <a:schemeClr val="tx1">
                    <a:tint val="75000"/>
                  </a:schemeClr>
                </a:solidFill>
              </a:defRPr>
            </a:lvl1pPr>
          </a:lstStyle>
          <a:p>
            <a:fld id="{3D314921-4E57-464F-A582-181EFAE3A0A8}" type="slidenum">
              <a:rPr lang="en-US" smtClean="0"/>
              <a:t>‹#›</a:t>
            </a:fld>
            <a:endParaRPr lang="en-US"/>
          </a:p>
        </p:txBody>
      </p:sp>
    </p:spTree>
    <p:extLst>
      <p:ext uri="{BB962C8B-B14F-4D97-AF65-F5344CB8AC3E}">
        <p14:creationId xmlns:p14="http://schemas.microsoft.com/office/powerpoint/2010/main" val="29033899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PRP Big Statement 2">
    <p:bg>
      <p:bgRef idx="1001">
        <a:schemeClr val="bg2"/>
      </p:bgRef>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17449" y="3360738"/>
            <a:ext cx="10715391" cy="2893967"/>
          </a:xfrm>
          <a:prstGeom prst="rect">
            <a:avLst/>
          </a:prstGeom>
        </p:spPr>
        <p:txBody>
          <a:bodyPr anchor="b">
            <a:noAutofit/>
          </a:bodyPr>
          <a:lstStyle>
            <a:lvl1pPr marL="0" algn="ctr" defTabSz="896203" rtl="0" eaLnBrk="1" fontAlgn="auto" latinLnBrk="0" hangingPunct="1">
              <a:lnSpc>
                <a:spcPts val="5881"/>
              </a:lnSpc>
              <a:spcBef>
                <a:spcPts val="0"/>
              </a:spcBef>
              <a:spcAft>
                <a:spcPts val="0"/>
              </a:spcAft>
              <a:defRPr lang="en-US" sz="5293" kern="1200" baseline="0" dirty="0">
                <a:solidFill>
                  <a:schemeClr val="tx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350899" y="5016002"/>
            <a:ext cx="2688590" cy="95019"/>
          </a:xfrm>
          <a:prstGeom prst="rect">
            <a:avLst/>
          </a:prstGeom>
          <a:noFill/>
        </p:spPr>
        <p:txBody>
          <a:bodyPr wrap="square" lIns="0" tIns="0" rIns="0" bIns="0" rtlCol="0" anchor="b">
            <a:spAutoFit/>
          </a:bodyPr>
          <a:lstStyle/>
          <a:p>
            <a:pPr>
              <a:lnSpc>
                <a:spcPct val="90000"/>
              </a:lnSpc>
              <a:spcAft>
                <a:spcPts val="588"/>
              </a:spcAft>
            </a:pPr>
            <a:r>
              <a:rPr lang="en-US" sz="686" dirty="0">
                <a:solidFill>
                  <a:schemeClr val="bg1">
                    <a:lumMod val="50000"/>
                  </a:schemeClr>
                </a:solidFill>
                <a:latin typeface="+mn-lt"/>
                <a:sym typeface="Trebuchet MS" panose="020B0603020202020204" pitchFamily="34" charset="0"/>
              </a:rPr>
              <a:t>Sample Slides_16x9.pptx</a:t>
            </a:r>
          </a:p>
        </p:txBody>
      </p:sp>
      <p:pic>
        <p:nvPicPr>
          <p:cNvPr id="6" name="Picture 5">
            <a:extLst>
              <a:ext uri="{FF2B5EF4-FFF2-40B4-BE49-F238E27FC236}">
                <a16:creationId xmlns:a16="http://schemas.microsoft.com/office/drawing/2014/main" id="{D1F814A6-2652-4E43-A4CF-A29E57DE0993}"/>
              </a:ext>
            </a:extLst>
          </p:cNvPr>
          <p:cNvPicPr>
            <a:picLocks noChangeAspect="1"/>
          </p:cNvPicPr>
          <p:nvPr userDrawn="1"/>
        </p:nvPicPr>
        <p:blipFill>
          <a:blip r:embed="rId3">
            <a:alphaModFix amt="30000"/>
          </a:blip>
          <a:srcRect r="27807"/>
          <a:stretch>
            <a:fillRect/>
          </a:stretch>
        </p:blipFill>
        <p:spPr>
          <a:xfrm flipH="1" flipV="1">
            <a:off x="7391399" y="-301404"/>
            <a:ext cx="4446305" cy="4245379"/>
          </a:xfrm>
          <a:custGeom>
            <a:avLst/>
            <a:gdLst>
              <a:gd name="connsiteX0" fmla="*/ 0 w 5994518"/>
              <a:gd name="connsiteY0" fmla="*/ 0 h 6242845"/>
              <a:gd name="connsiteX1" fmla="*/ 26078 w 5994518"/>
              <a:gd name="connsiteY1" fmla="*/ 0 h 6242845"/>
              <a:gd name="connsiteX2" fmla="*/ 5994518 w 5994518"/>
              <a:gd name="connsiteY2" fmla="*/ 6242845 h 6242845"/>
              <a:gd name="connsiteX3" fmla="*/ 0 w 5994518"/>
              <a:gd name="connsiteY3" fmla="*/ 6242845 h 6242845"/>
            </a:gdLst>
            <a:ahLst/>
            <a:cxnLst>
              <a:cxn ang="0">
                <a:pos x="connsiteX0" y="connsiteY0"/>
              </a:cxn>
              <a:cxn ang="0">
                <a:pos x="connsiteX1" y="connsiteY1"/>
              </a:cxn>
              <a:cxn ang="0">
                <a:pos x="connsiteX2" y="connsiteY2"/>
              </a:cxn>
              <a:cxn ang="0">
                <a:pos x="connsiteX3" y="connsiteY3"/>
              </a:cxn>
            </a:cxnLst>
            <a:rect l="l" t="t" r="r" b="b"/>
            <a:pathLst>
              <a:path w="5994518" h="6242845">
                <a:moveTo>
                  <a:pt x="0" y="0"/>
                </a:moveTo>
                <a:lnTo>
                  <a:pt x="26078" y="0"/>
                </a:lnTo>
                <a:lnTo>
                  <a:pt x="5994518" y="6242845"/>
                </a:lnTo>
                <a:lnTo>
                  <a:pt x="0" y="6242845"/>
                </a:lnTo>
                <a:close/>
              </a:path>
            </a:pathLst>
          </a:custGeom>
        </p:spPr>
      </p:pic>
      <p:sp>
        <p:nvSpPr>
          <p:cNvPr id="9" name="Slide Number Placeholder 3">
            <a:extLst>
              <a:ext uri="{FF2B5EF4-FFF2-40B4-BE49-F238E27FC236}">
                <a16:creationId xmlns:a16="http://schemas.microsoft.com/office/drawing/2014/main" id="{2A2DBAEB-6EF8-0F48-8BB1-EB5873739118}"/>
              </a:ext>
            </a:extLst>
          </p:cNvPr>
          <p:cNvSpPr>
            <a:spLocks noGrp="1"/>
          </p:cNvSpPr>
          <p:nvPr>
            <p:ph type="sldNum" sz="quarter" idx="4"/>
          </p:nvPr>
        </p:nvSpPr>
        <p:spPr>
          <a:xfrm>
            <a:off x="8809038" y="6126163"/>
            <a:ext cx="2689225" cy="331787"/>
          </a:xfrm>
          <a:prstGeom prst="rect">
            <a:avLst/>
          </a:prstGeom>
        </p:spPr>
        <p:txBody>
          <a:bodyPr vert="horz" lIns="91440" tIns="45720" rIns="91440" bIns="45720" rtlCol="0" anchor="ctr"/>
          <a:lstStyle>
            <a:lvl1pPr algn="r">
              <a:defRPr sz="1200">
                <a:solidFill>
                  <a:schemeClr val="tx1">
                    <a:tint val="75000"/>
                  </a:schemeClr>
                </a:solidFill>
              </a:defRPr>
            </a:lvl1pPr>
          </a:lstStyle>
          <a:p>
            <a:fld id="{3D314921-4E57-464F-A582-181EFAE3A0A8}" type="slidenum">
              <a:rPr lang="en-US" smtClean="0"/>
              <a:t>‹#›</a:t>
            </a:fld>
            <a:endParaRPr lang="en-US"/>
          </a:p>
        </p:txBody>
      </p:sp>
    </p:spTree>
    <p:extLst>
      <p:ext uri="{BB962C8B-B14F-4D97-AF65-F5344CB8AC3E}">
        <p14:creationId xmlns:p14="http://schemas.microsoft.com/office/powerpoint/2010/main" val="13928732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PRP green slice (1/3)">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F9012E2-28B6-E844-8CB5-A2A2EAD45CDF}"/>
              </a:ext>
            </a:extLst>
          </p:cNvPr>
          <p:cNvGraphicFramePr>
            <a:graphicFrameLocks noChangeAspect="1"/>
          </p:cNvGraphicFramePr>
          <p:nvPr userDrawn="1">
            <p:custDataLst>
              <p:tags r:id="rId2"/>
            </p:custDataLst>
            <p:extLst>
              <p:ext uri="{D42A27DB-BD31-4B8C-83A1-F6EECF244321}">
                <p14:modId xmlns:p14="http://schemas.microsoft.com/office/powerpoint/2010/main" val="3446655876"/>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435112" name="think-cell Slide" r:id="rId4" imgW="7772400" imgH="10058400" progId="TCLayout.ActiveDocument.1">
                  <p:embed/>
                </p:oleObj>
              </mc:Choice>
              <mc:Fallback>
                <p:oleObj name="think-cell Slide" r:id="rId4" imgW="7772400" imgH="10058400" progId="TCLayout.ActiveDocument.1">
                  <p:embed/>
                  <p:pic>
                    <p:nvPicPr>
                      <p:cNvPr id="11" name="Object 10" hidden="1">
                        <a:extLst>
                          <a:ext uri="{FF2B5EF4-FFF2-40B4-BE49-F238E27FC236}">
                            <a16:creationId xmlns:a16="http://schemas.microsoft.com/office/drawing/2014/main" id="{5F9012E2-28B6-E844-8CB5-A2A2EAD45CDF}"/>
                          </a:ext>
                        </a:extLst>
                      </p:cNvPr>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9ABA51E-D23F-D54C-8533-640229D4328D}"/>
              </a:ext>
            </a:extLst>
          </p:cNvPr>
          <p:cNvSpPr>
            <a:spLocks noGrp="1"/>
          </p:cNvSpPr>
          <p:nvPr>
            <p:ph type="title" hasCustomPrompt="1"/>
          </p:nvPr>
        </p:nvSpPr>
        <p:spPr>
          <a:xfrm>
            <a:off x="4114799" y="239713"/>
            <a:ext cx="7383463" cy="388937"/>
          </a:xfrm>
          <a:prstGeom prst="rect">
            <a:avLst/>
          </a:prstGeom>
        </p:spPr>
        <p:txBody>
          <a:bodyPr>
            <a:normAutofit/>
          </a:bodyPr>
          <a:lstStyle>
            <a:lvl1pPr>
              <a:defRPr sz="2400">
                <a:solidFill>
                  <a:schemeClr val="tx2"/>
                </a:solidFill>
              </a:defRPr>
            </a:lvl1pPr>
          </a:lstStyle>
          <a:p>
            <a:r>
              <a:rPr lang="en-US" dirty="0"/>
              <a:t>Click to add title</a:t>
            </a:r>
          </a:p>
        </p:txBody>
      </p:sp>
      <p:sp>
        <p:nvSpPr>
          <p:cNvPr id="7" name="Rectangle 6">
            <a:extLst>
              <a:ext uri="{FF2B5EF4-FFF2-40B4-BE49-F238E27FC236}">
                <a16:creationId xmlns:a16="http://schemas.microsoft.com/office/drawing/2014/main" id="{C23EA75F-CFCD-6449-8924-88F53FF27453}"/>
              </a:ext>
            </a:extLst>
          </p:cNvPr>
          <p:cNvSpPr/>
          <p:nvPr userDrawn="1"/>
        </p:nvSpPr>
        <p:spPr>
          <a:xfrm>
            <a:off x="-207818" y="0"/>
            <a:ext cx="3979481" cy="6721475"/>
          </a:xfrm>
          <a:prstGeom prst="rect">
            <a:avLst/>
          </a:prstGeom>
          <a:solidFill>
            <a:schemeClr val="tx2"/>
          </a:solidFill>
          <a:ln>
            <a:solidFill>
              <a:srgbClr val="176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a:p>
        </p:txBody>
      </p:sp>
      <p:sp>
        <p:nvSpPr>
          <p:cNvPr id="16" name="Text Placeholder 15">
            <a:extLst>
              <a:ext uri="{FF2B5EF4-FFF2-40B4-BE49-F238E27FC236}">
                <a16:creationId xmlns:a16="http://schemas.microsoft.com/office/drawing/2014/main" id="{337C8C27-3231-CA42-9AFB-C37B67036885}"/>
              </a:ext>
            </a:extLst>
          </p:cNvPr>
          <p:cNvSpPr>
            <a:spLocks noGrp="1"/>
          </p:cNvSpPr>
          <p:nvPr>
            <p:ph type="body" sz="quarter" idx="14" hasCustomPrompt="1"/>
          </p:nvPr>
        </p:nvSpPr>
        <p:spPr>
          <a:xfrm>
            <a:off x="434975" y="2812406"/>
            <a:ext cx="2726184" cy="1096663"/>
          </a:xfrm>
        </p:spPr>
        <p:txBody>
          <a:bodyPr>
            <a:normAutofit/>
          </a:bodyPr>
          <a:lstStyle>
            <a:lvl1pPr marL="0" indent="0" algn="l">
              <a:buNone/>
              <a:defRPr sz="3136">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8" name="Slide Number Placeholder 3">
            <a:extLst>
              <a:ext uri="{FF2B5EF4-FFF2-40B4-BE49-F238E27FC236}">
                <a16:creationId xmlns:a16="http://schemas.microsoft.com/office/drawing/2014/main" id="{0EB97800-0343-2141-BC38-8B2FD231D6D9}"/>
              </a:ext>
            </a:extLst>
          </p:cNvPr>
          <p:cNvSpPr>
            <a:spLocks noGrp="1"/>
          </p:cNvSpPr>
          <p:nvPr>
            <p:ph type="sldNum" sz="quarter" idx="4"/>
          </p:nvPr>
        </p:nvSpPr>
        <p:spPr>
          <a:xfrm>
            <a:off x="8809038" y="6126163"/>
            <a:ext cx="2689225" cy="331787"/>
          </a:xfrm>
          <a:prstGeom prst="rect">
            <a:avLst/>
          </a:prstGeom>
        </p:spPr>
        <p:txBody>
          <a:bodyPr vert="horz" lIns="91440" tIns="45720" rIns="91440" bIns="45720" rtlCol="0" anchor="ctr"/>
          <a:lstStyle>
            <a:lvl1pPr algn="r">
              <a:defRPr sz="1200">
                <a:solidFill>
                  <a:schemeClr val="tx1">
                    <a:tint val="75000"/>
                  </a:schemeClr>
                </a:solidFill>
              </a:defRPr>
            </a:lvl1pPr>
          </a:lstStyle>
          <a:p>
            <a:fld id="{3D314921-4E57-464F-A582-181EFAE3A0A8}" type="slidenum">
              <a:rPr lang="en-US" smtClean="0"/>
              <a:t>‹#›</a:t>
            </a:fld>
            <a:endParaRPr lang="en-US"/>
          </a:p>
        </p:txBody>
      </p:sp>
    </p:spTree>
    <p:extLst>
      <p:ext uri="{BB962C8B-B14F-4D97-AF65-F5344CB8AC3E}">
        <p14:creationId xmlns:p14="http://schemas.microsoft.com/office/powerpoint/2010/main" val="6122186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PRP green slice (1/2)">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F9012E2-28B6-E844-8CB5-A2A2EAD45CDF}"/>
              </a:ext>
            </a:extLst>
          </p:cNvPr>
          <p:cNvGraphicFramePr>
            <a:graphicFrameLocks noChangeAspect="1"/>
          </p:cNvGraphicFramePr>
          <p:nvPr userDrawn="1">
            <p:custDataLst>
              <p:tags r:id="rId2"/>
            </p:custDataLst>
            <p:extLst>
              <p:ext uri="{D42A27DB-BD31-4B8C-83A1-F6EECF244321}">
                <p14:modId xmlns:p14="http://schemas.microsoft.com/office/powerpoint/2010/main" val="3453096009"/>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436136" name="think-cell Slide" r:id="rId4" imgW="7772400" imgH="10058400" progId="TCLayout.ActiveDocument.1">
                  <p:embed/>
                </p:oleObj>
              </mc:Choice>
              <mc:Fallback>
                <p:oleObj name="think-cell Slide" r:id="rId4" imgW="7772400" imgH="10058400" progId="TCLayout.ActiveDocument.1">
                  <p:embed/>
                  <p:pic>
                    <p:nvPicPr>
                      <p:cNvPr id="11" name="Object 10" hidden="1">
                        <a:extLst>
                          <a:ext uri="{FF2B5EF4-FFF2-40B4-BE49-F238E27FC236}">
                            <a16:creationId xmlns:a16="http://schemas.microsoft.com/office/drawing/2014/main" id="{5F9012E2-28B6-E844-8CB5-A2A2EAD45CDF}"/>
                          </a:ext>
                        </a:extLst>
                      </p:cNvPr>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C79DA457-2224-F44F-B707-1E285E02F316}"/>
              </a:ext>
            </a:extLst>
          </p:cNvPr>
          <p:cNvSpPr/>
          <p:nvPr userDrawn="1"/>
        </p:nvSpPr>
        <p:spPr>
          <a:xfrm>
            <a:off x="5974557" y="0"/>
            <a:ext cx="5974557" cy="6721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a:p>
        </p:txBody>
      </p:sp>
      <p:sp>
        <p:nvSpPr>
          <p:cNvPr id="3" name="Content Placeholder 2">
            <a:extLst>
              <a:ext uri="{FF2B5EF4-FFF2-40B4-BE49-F238E27FC236}">
                <a16:creationId xmlns:a16="http://schemas.microsoft.com/office/drawing/2014/main" id="{9D40B776-B903-A642-A3ED-247FCE207B14}"/>
              </a:ext>
            </a:extLst>
          </p:cNvPr>
          <p:cNvSpPr>
            <a:spLocks noGrp="1"/>
          </p:cNvSpPr>
          <p:nvPr>
            <p:ph idx="1"/>
          </p:nvPr>
        </p:nvSpPr>
        <p:spPr>
          <a:xfrm>
            <a:off x="5974557" y="0"/>
            <a:ext cx="5974556" cy="6721475"/>
          </a:xfrm>
        </p:spPr>
        <p:txBody>
          <a:bodyPr>
            <a:normAutofit/>
          </a:bodyPr>
          <a:lstStyle>
            <a:lvl1pPr marL="0" marR="0" indent="0" algn="ctr" defTabSz="896203" rtl="0" eaLnBrk="1" fontAlgn="auto" latinLnBrk="0" hangingPunct="1">
              <a:lnSpc>
                <a:spcPct val="100000"/>
              </a:lnSpc>
              <a:spcBef>
                <a:spcPts val="0"/>
              </a:spcBef>
              <a:spcAft>
                <a:spcPts val="0"/>
              </a:spcAft>
              <a:buClrTx/>
              <a:buSzTx/>
              <a:buFont typeface="Arial" panose="020B0604020202020204" pitchFamily="34" charset="0"/>
              <a:buNone/>
              <a:tabLst/>
              <a:defRPr sz="1960"/>
            </a:lvl1pPr>
          </a:lstStyle>
          <a:p>
            <a:pPr marL="0" marR="0" lvl="0" indent="0" algn="ctr" defTabSz="89620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ctr" defTabSz="89620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lick icon below to insert an image or </a:t>
            </a:r>
          </a:p>
          <a:p>
            <a:pPr marL="0" marR="0" lvl="0" indent="0" algn="ctr" defTabSz="89620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remove this placeholder to use the </a:t>
            </a:r>
          </a:p>
          <a:p>
            <a:pPr marL="0" marR="0" lvl="0" indent="0" algn="ctr" defTabSz="89620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whitespace in another way</a:t>
            </a:r>
          </a:p>
          <a:p>
            <a:pPr lvl="0"/>
            <a:endParaRPr lang="en-US" dirty="0"/>
          </a:p>
        </p:txBody>
      </p:sp>
      <p:sp>
        <p:nvSpPr>
          <p:cNvPr id="7" name="Rectangle 6">
            <a:extLst>
              <a:ext uri="{FF2B5EF4-FFF2-40B4-BE49-F238E27FC236}">
                <a16:creationId xmlns:a16="http://schemas.microsoft.com/office/drawing/2014/main" id="{C23EA75F-CFCD-6449-8924-88F53FF27453}"/>
              </a:ext>
            </a:extLst>
          </p:cNvPr>
          <p:cNvSpPr/>
          <p:nvPr userDrawn="1"/>
        </p:nvSpPr>
        <p:spPr>
          <a:xfrm>
            <a:off x="0" y="0"/>
            <a:ext cx="5974557" cy="6721475"/>
          </a:xfrm>
          <a:prstGeom prst="rect">
            <a:avLst/>
          </a:prstGeom>
          <a:solidFill>
            <a:schemeClr val="tx2"/>
          </a:solidFill>
          <a:ln>
            <a:solidFill>
              <a:srgbClr val="176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a:p>
        </p:txBody>
      </p:sp>
      <p:sp>
        <p:nvSpPr>
          <p:cNvPr id="16" name="Text Placeholder 15">
            <a:extLst>
              <a:ext uri="{FF2B5EF4-FFF2-40B4-BE49-F238E27FC236}">
                <a16:creationId xmlns:a16="http://schemas.microsoft.com/office/drawing/2014/main" id="{337C8C27-3231-CA42-9AFB-C37B67036885}"/>
              </a:ext>
            </a:extLst>
          </p:cNvPr>
          <p:cNvSpPr>
            <a:spLocks noGrp="1"/>
          </p:cNvSpPr>
          <p:nvPr>
            <p:ph type="body" sz="quarter" idx="14" hasCustomPrompt="1"/>
          </p:nvPr>
        </p:nvSpPr>
        <p:spPr>
          <a:xfrm>
            <a:off x="611459" y="2758096"/>
            <a:ext cx="4571159" cy="1096663"/>
          </a:xfrm>
        </p:spPr>
        <p:txBody>
          <a:bodyPr anchor="ctr">
            <a:normAutofit/>
          </a:bodyPr>
          <a:lstStyle>
            <a:lvl1pPr marL="0" indent="0" algn="l">
              <a:buNone/>
              <a:defRPr sz="3136">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9" name="Slide Number Placeholder 3">
            <a:extLst>
              <a:ext uri="{FF2B5EF4-FFF2-40B4-BE49-F238E27FC236}">
                <a16:creationId xmlns:a16="http://schemas.microsoft.com/office/drawing/2014/main" id="{936C2D9E-3130-0D44-93A0-0415371143F3}"/>
              </a:ext>
            </a:extLst>
          </p:cNvPr>
          <p:cNvSpPr>
            <a:spLocks noGrp="1"/>
          </p:cNvSpPr>
          <p:nvPr>
            <p:ph type="sldNum" sz="quarter" idx="4"/>
          </p:nvPr>
        </p:nvSpPr>
        <p:spPr>
          <a:xfrm>
            <a:off x="8809038" y="6126163"/>
            <a:ext cx="2689225" cy="331787"/>
          </a:xfrm>
          <a:prstGeom prst="rect">
            <a:avLst/>
          </a:prstGeom>
        </p:spPr>
        <p:txBody>
          <a:bodyPr vert="horz" lIns="91440" tIns="45720" rIns="91440" bIns="45720" rtlCol="0" anchor="ctr"/>
          <a:lstStyle>
            <a:lvl1pPr algn="r">
              <a:defRPr sz="1200">
                <a:solidFill>
                  <a:schemeClr val="tx1">
                    <a:tint val="75000"/>
                  </a:schemeClr>
                </a:solidFill>
              </a:defRPr>
            </a:lvl1pPr>
          </a:lstStyle>
          <a:p>
            <a:fld id="{3D314921-4E57-464F-A582-181EFAE3A0A8}" type="slidenum">
              <a:rPr lang="en-US" smtClean="0"/>
              <a:t>‹#›</a:t>
            </a:fld>
            <a:endParaRPr lang="en-US"/>
          </a:p>
        </p:txBody>
      </p:sp>
    </p:spTree>
    <p:extLst>
      <p:ext uri="{BB962C8B-B14F-4D97-AF65-F5344CB8AC3E}">
        <p14:creationId xmlns:p14="http://schemas.microsoft.com/office/powerpoint/2010/main" val="20699072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PRP green slice (2/3)">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F9012E2-28B6-E844-8CB5-A2A2EAD45CDF}"/>
              </a:ext>
            </a:extLst>
          </p:cNvPr>
          <p:cNvGraphicFramePr>
            <a:graphicFrameLocks noChangeAspect="1"/>
          </p:cNvGraphicFramePr>
          <p:nvPr userDrawn="1">
            <p:custDataLst>
              <p:tags r:id="rId2"/>
            </p:custDataLst>
            <p:extLst>
              <p:ext uri="{D42A27DB-BD31-4B8C-83A1-F6EECF244321}">
                <p14:modId xmlns:p14="http://schemas.microsoft.com/office/powerpoint/2010/main" val="1128160986"/>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437160" name="think-cell Slide" r:id="rId4" imgW="7772400" imgH="10058400" progId="TCLayout.ActiveDocument.1">
                  <p:embed/>
                </p:oleObj>
              </mc:Choice>
              <mc:Fallback>
                <p:oleObj name="think-cell Slide" r:id="rId4" imgW="7772400" imgH="10058400" progId="TCLayout.ActiveDocument.1">
                  <p:embed/>
                  <p:pic>
                    <p:nvPicPr>
                      <p:cNvPr id="11" name="Object 10" hidden="1">
                        <a:extLst>
                          <a:ext uri="{FF2B5EF4-FFF2-40B4-BE49-F238E27FC236}">
                            <a16:creationId xmlns:a16="http://schemas.microsoft.com/office/drawing/2014/main" id="{5F9012E2-28B6-E844-8CB5-A2A2EAD45CDF}"/>
                          </a:ext>
                        </a:extLst>
                      </p:cNvPr>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83C05077-DB29-9B4D-AB89-705645F092A5}"/>
              </a:ext>
            </a:extLst>
          </p:cNvPr>
          <p:cNvSpPr/>
          <p:nvPr userDrawn="1"/>
        </p:nvSpPr>
        <p:spPr>
          <a:xfrm>
            <a:off x="7955694" y="0"/>
            <a:ext cx="3993420" cy="6721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a:p>
        </p:txBody>
      </p:sp>
      <p:sp>
        <p:nvSpPr>
          <p:cNvPr id="3" name="Content Placeholder 2">
            <a:extLst>
              <a:ext uri="{FF2B5EF4-FFF2-40B4-BE49-F238E27FC236}">
                <a16:creationId xmlns:a16="http://schemas.microsoft.com/office/drawing/2014/main" id="{9D40B776-B903-A642-A3ED-247FCE207B14}"/>
              </a:ext>
            </a:extLst>
          </p:cNvPr>
          <p:cNvSpPr>
            <a:spLocks noGrp="1"/>
          </p:cNvSpPr>
          <p:nvPr>
            <p:ph idx="1"/>
          </p:nvPr>
        </p:nvSpPr>
        <p:spPr>
          <a:xfrm>
            <a:off x="7955694" y="1"/>
            <a:ext cx="3542569" cy="6721474"/>
          </a:xfrm>
        </p:spPr>
        <p:txBody>
          <a:bodyPr>
            <a:normAutofit/>
          </a:bodyPr>
          <a:lstStyle>
            <a:lvl1pPr marL="0" marR="0" indent="0" algn="ctr" defTabSz="896203" rtl="0" eaLnBrk="1" fontAlgn="auto" latinLnBrk="0" hangingPunct="1">
              <a:lnSpc>
                <a:spcPct val="100000"/>
              </a:lnSpc>
              <a:spcBef>
                <a:spcPts val="0"/>
              </a:spcBef>
              <a:spcAft>
                <a:spcPts val="0"/>
              </a:spcAft>
              <a:buClrTx/>
              <a:buSzTx/>
              <a:buFont typeface="Arial" panose="020B0604020202020204" pitchFamily="34" charset="0"/>
              <a:buNone/>
              <a:tabLst/>
              <a:defRPr sz="1764"/>
            </a:lvl1pPr>
          </a:lstStyle>
          <a:p>
            <a:pPr marL="0" marR="0" lvl="0" indent="0" algn="ctr" defTabSz="89620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ctr" defTabSz="89620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ctr" defTabSz="89620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ctr" defTabSz="89620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lick icon below to insert an image or remove this placeholder to use the whitespace in another way</a:t>
            </a:r>
          </a:p>
        </p:txBody>
      </p:sp>
      <p:sp>
        <p:nvSpPr>
          <p:cNvPr id="7" name="Rectangle 6">
            <a:extLst>
              <a:ext uri="{FF2B5EF4-FFF2-40B4-BE49-F238E27FC236}">
                <a16:creationId xmlns:a16="http://schemas.microsoft.com/office/drawing/2014/main" id="{C23EA75F-CFCD-6449-8924-88F53FF27453}"/>
              </a:ext>
            </a:extLst>
          </p:cNvPr>
          <p:cNvSpPr/>
          <p:nvPr userDrawn="1"/>
        </p:nvSpPr>
        <p:spPr>
          <a:xfrm>
            <a:off x="0" y="0"/>
            <a:ext cx="7958109" cy="6721475"/>
          </a:xfrm>
          <a:prstGeom prst="rect">
            <a:avLst/>
          </a:prstGeom>
          <a:solidFill>
            <a:srgbClr val="176739"/>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a:p>
        </p:txBody>
      </p:sp>
      <p:sp>
        <p:nvSpPr>
          <p:cNvPr id="16" name="Text Placeholder 15">
            <a:extLst>
              <a:ext uri="{FF2B5EF4-FFF2-40B4-BE49-F238E27FC236}">
                <a16:creationId xmlns:a16="http://schemas.microsoft.com/office/drawing/2014/main" id="{337C8C27-3231-CA42-9AFB-C37B67036885}"/>
              </a:ext>
            </a:extLst>
          </p:cNvPr>
          <p:cNvSpPr>
            <a:spLocks noGrp="1"/>
          </p:cNvSpPr>
          <p:nvPr>
            <p:ph type="body" sz="quarter" idx="14" hasCustomPrompt="1"/>
          </p:nvPr>
        </p:nvSpPr>
        <p:spPr>
          <a:xfrm>
            <a:off x="611459" y="1877969"/>
            <a:ext cx="6421091" cy="2749932"/>
          </a:xfrm>
        </p:spPr>
        <p:txBody>
          <a:bodyPr anchor="ctr">
            <a:normAutofit/>
          </a:bodyPr>
          <a:lstStyle>
            <a:lvl1pPr marL="0" indent="0" algn="l">
              <a:buNone/>
              <a:defRPr sz="3136">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9" name="Slide Number Placeholder 3">
            <a:extLst>
              <a:ext uri="{FF2B5EF4-FFF2-40B4-BE49-F238E27FC236}">
                <a16:creationId xmlns:a16="http://schemas.microsoft.com/office/drawing/2014/main" id="{CA07FB91-68D7-D04A-B13A-FD57C6652C69}"/>
              </a:ext>
            </a:extLst>
          </p:cNvPr>
          <p:cNvSpPr>
            <a:spLocks noGrp="1"/>
          </p:cNvSpPr>
          <p:nvPr>
            <p:ph type="sldNum" sz="quarter" idx="4"/>
          </p:nvPr>
        </p:nvSpPr>
        <p:spPr>
          <a:xfrm>
            <a:off x="8809038" y="6126163"/>
            <a:ext cx="2689225" cy="331787"/>
          </a:xfrm>
          <a:prstGeom prst="rect">
            <a:avLst/>
          </a:prstGeom>
        </p:spPr>
        <p:txBody>
          <a:bodyPr vert="horz" lIns="91440" tIns="45720" rIns="91440" bIns="45720" rtlCol="0" anchor="ctr"/>
          <a:lstStyle>
            <a:lvl1pPr algn="r">
              <a:defRPr sz="1200">
                <a:solidFill>
                  <a:schemeClr val="tx1">
                    <a:tint val="75000"/>
                  </a:schemeClr>
                </a:solidFill>
              </a:defRPr>
            </a:lvl1pPr>
          </a:lstStyle>
          <a:p>
            <a:fld id="{3D314921-4E57-464F-A582-181EFAE3A0A8}" type="slidenum">
              <a:rPr lang="en-US" smtClean="0"/>
              <a:t>‹#›</a:t>
            </a:fld>
            <a:endParaRPr lang="en-US"/>
          </a:p>
        </p:txBody>
      </p:sp>
    </p:spTree>
    <p:extLst>
      <p:ext uri="{BB962C8B-B14F-4D97-AF65-F5344CB8AC3E}">
        <p14:creationId xmlns:p14="http://schemas.microsoft.com/office/powerpoint/2010/main" val="14719058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PRP Inverted green slice (1/3)">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F9012E2-28B6-E844-8CB5-A2A2EAD45CDF}"/>
              </a:ext>
            </a:extLst>
          </p:cNvPr>
          <p:cNvGraphicFramePr>
            <a:graphicFrameLocks noChangeAspect="1"/>
          </p:cNvGraphicFramePr>
          <p:nvPr userDrawn="1">
            <p:custDataLst>
              <p:tags r:id="rId2"/>
            </p:custDataLst>
            <p:extLst>
              <p:ext uri="{D42A27DB-BD31-4B8C-83A1-F6EECF244321}">
                <p14:modId xmlns:p14="http://schemas.microsoft.com/office/powerpoint/2010/main" val="862257160"/>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438184" name="think-cell Slide" r:id="rId4" imgW="7772400" imgH="10058400" progId="TCLayout.ActiveDocument.1">
                  <p:embed/>
                </p:oleObj>
              </mc:Choice>
              <mc:Fallback>
                <p:oleObj name="think-cell Slide" r:id="rId4" imgW="7772400" imgH="10058400" progId="TCLayout.ActiveDocument.1">
                  <p:embed/>
                  <p:pic>
                    <p:nvPicPr>
                      <p:cNvPr id="11" name="Object 10" hidden="1">
                        <a:extLst>
                          <a:ext uri="{FF2B5EF4-FFF2-40B4-BE49-F238E27FC236}">
                            <a16:creationId xmlns:a16="http://schemas.microsoft.com/office/drawing/2014/main" id="{5F9012E2-28B6-E844-8CB5-A2A2EAD45CDF}"/>
                          </a:ext>
                        </a:extLst>
                      </p:cNvPr>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C23EA75F-CFCD-6449-8924-88F53FF27453}"/>
              </a:ext>
            </a:extLst>
          </p:cNvPr>
          <p:cNvSpPr/>
          <p:nvPr userDrawn="1"/>
        </p:nvSpPr>
        <p:spPr>
          <a:xfrm flipH="1">
            <a:off x="3979480" y="9094"/>
            <a:ext cx="7969632" cy="6721475"/>
          </a:xfrm>
          <a:prstGeom prst="rect">
            <a:avLst/>
          </a:prstGeom>
          <a:solidFill>
            <a:srgbClr val="176739"/>
          </a:solidFill>
          <a:ln>
            <a:solidFill>
              <a:srgbClr val="176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a:p>
        </p:txBody>
      </p:sp>
      <p:sp>
        <p:nvSpPr>
          <p:cNvPr id="2" name="Title 1">
            <a:extLst>
              <a:ext uri="{FF2B5EF4-FFF2-40B4-BE49-F238E27FC236}">
                <a16:creationId xmlns:a16="http://schemas.microsoft.com/office/drawing/2014/main" id="{69ABA51E-D23F-D54C-8533-640229D4328D}"/>
              </a:ext>
            </a:extLst>
          </p:cNvPr>
          <p:cNvSpPr>
            <a:spLocks noGrp="1"/>
          </p:cNvSpPr>
          <p:nvPr>
            <p:ph type="title" hasCustomPrompt="1"/>
          </p:nvPr>
        </p:nvSpPr>
        <p:spPr>
          <a:xfrm>
            <a:off x="4336473" y="239713"/>
            <a:ext cx="7161790" cy="388937"/>
          </a:xfrm>
          <a:prstGeom prst="rect">
            <a:avLst/>
          </a:prstGeom>
        </p:spPr>
        <p:txBody>
          <a:bodyPr>
            <a:normAutofit/>
          </a:bodyPr>
          <a:lstStyle>
            <a:lvl1pPr>
              <a:defRPr sz="2400">
                <a:solidFill>
                  <a:schemeClr val="bg1"/>
                </a:solidFill>
              </a:defRPr>
            </a:lvl1pPr>
          </a:lstStyle>
          <a:p>
            <a:r>
              <a:rPr lang="en-US" dirty="0"/>
              <a:t>Click to add title</a:t>
            </a:r>
          </a:p>
        </p:txBody>
      </p:sp>
      <p:sp>
        <p:nvSpPr>
          <p:cNvPr id="16" name="Text Placeholder 15">
            <a:extLst>
              <a:ext uri="{FF2B5EF4-FFF2-40B4-BE49-F238E27FC236}">
                <a16:creationId xmlns:a16="http://schemas.microsoft.com/office/drawing/2014/main" id="{337C8C27-3231-CA42-9AFB-C37B67036885}"/>
              </a:ext>
            </a:extLst>
          </p:cNvPr>
          <p:cNvSpPr>
            <a:spLocks noGrp="1"/>
          </p:cNvSpPr>
          <p:nvPr>
            <p:ph type="body" sz="quarter" idx="14" hasCustomPrompt="1"/>
          </p:nvPr>
        </p:nvSpPr>
        <p:spPr>
          <a:xfrm>
            <a:off x="434975" y="2812406"/>
            <a:ext cx="2519248" cy="1096663"/>
          </a:xfrm>
        </p:spPr>
        <p:txBody>
          <a:bodyPr>
            <a:normAutofit/>
          </a:bodyPr>
          <a:lstStyle>
            <a:lvl1pPr marL="0" indent="0" algn="l">
              <a:buNone/>
              <a:defRPr sz="3136">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10" name="Slide Number Placeholder 3">
            <a:extLst>
              <a:ext uri="{FF2B5EF4-FFF2-40B4-BE49-F238E27FC236}">
                <a16:creationId xmlns:a16="http://schemas.microsoft.com/office/drawing/2014/main" id="{AE35C452-94A3-7A40-8E19-4420AA816B63}"/>
              </a:ext>
            </a:extLst>
          </p:cNvPr>
          <p:cNvSpPr>
            <a:spLocks noGrp="1"/>
          </p:cNvSpPr>
          <p:nvPr>
            <p:ph type="sldNum" sz="quarter" idx="4"/>
          </p:nvPr>
        </p:nvSpPr>
        <p:spPr>
          <a:xfrm>
            <a:off x="8809038" y="6126163"/>
            <a:ext cx="2689225" cy="331787"/>
          </a:xfrm>
          <a:prstGeom prst="rect">
            <a:avLst/>
          </a:prstGeom>
        </p:spPr>
        <p:txBody>
          <a:bodyPr vert="horz" lIns="91440" tIns="45720" rIns="91440" bIns="45720" rtlCol="0" anchor="ctr"/>
          <a:lstStyle>
            <a:lvl1pPr algn="r">
              <a:defRPr sz="1200">
                <a:solidFill>
                  <a:schemeClr val="tx1">
                    <a:tint val="75000"/>
                  </a:schemeClr>
                </a:solidFill>
              </a:defRPr>
            </a:lvl1pPr>
          </a:lstStyle>
          <a:p>
            <a:fld id="{3D314921-4E57-464F-A582-181EFAE3A0A8}" type="slidenum">
              <a:rPr lang="en-US" smtClean="0"/>
              <a:t>‹#›</a:t>
            </a:fld>
            <a:endParaRPr lang="en-US"/>
          </a:p>
        </p:txBody>
      </p:sp>
    </p:spTree>
    <p:extLst>
      <p:ext uri="{BB962C8B-B14F-4D97-AF65-F5344CB8AC3E}">
        <p14:creationId xmlns:p14="http://schemas.microsoft.com/office/powerpoint/2010/main" val="19299900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verted blue slice (1/2)">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F9012E2-28B6-E844-8CB5-A2A2EAD45CDF}"/>
              </a:ext>
            </a:extLst>
          </p:cNvPr>
          <p:cNvGraphicFramePr>
            <a:graphicFrameLocks noChangeAspect="1"/>
          </p:cNvGraphicFramePr>
          <p:nvPr userDrawn="1">
            <p:custDataLst>
              <p:tags r:id="rId2"/>
            </p:custDataLst>
            <p:extLst>
              <p:ext uri="{D42A27DB-BD31-4B8C-83A1-F6EECF244321}">
                <p14:modId xmlns:p14="http://schemas.microsoft.com/office/powerpoint/2010/main" val="2832558215"/>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439208" name="think-cell Slide" r:id="rId4" imgW="7772400" imgH="10058400" progId="TCLayout.ActiveDocument.1">
                  <p:embed/>
                </p:oleObj>
              </mc:Choice>
              <mc:Fallback>
                <p:oleObj name="think-cell Slide" r:id="rId4" imgW="7772400" imgH="10058400" progId="TCLayout.ActiveDocument.1">
                  <p:embed/>
                  <p:pic>
                    <p:nvPicPr>
                      <p:cNvPr id="11" name="Object 10" hidden="1">
                        <a:extLst>
                          <a:ext uri="{FF2B5EF4-FFF2-40B4-BE49-F238E27FC236}">
                            <a16:creationId xmlns:a16="http://schemas.microsoft.com/office/drawing/2014/main" id="{5F9012E2-28B6-E844-8CB5-A2A2EAD45CDF}"/>
                          </a:ext>
                        </a:extLst>
                      </p:cNvPr>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9D40B776-B903-A642-A3ED-247FCE207B14}"/>
              </a:ext>
            </a:extLst>
          </p:cNvPr>
          <p:cNvSpPr>
            <a:spLocks noGrp="1"/>
          </p:cNvSpPr>
          <p:nvPr>
            <p:ph idx="1"/>
          </p:nvPr>
        </p:nvSpPr>
        <p:spPr>
          <a:xfrm>
            <a:off x="0" y="0"/>
            <a:ext cx="5974556" cy="6721475"/>
          </a:xfrm>
        </p:spPr>
        <p:txBody>
          <a:bodyPr>
            <a:normAutofit/>
          </a:bodyPr>
          <a:lstStyle>
            <a:lvl1pPr marL="0" marR="0" indent="0" algn="ctr" defTabSz="896203" rtl="0" eaLnBrk="1" fontAlgn="auto" latinLnBrk="0" hangingPunct="1">
              <a:lnSpc>
                <a:spcPct val="100000"/>
              </a:lnSpc>
              <a:spcBef>
                <a:spcPts val="0"/>
              </a:spcBef>
              <a:spcAft>
                <a:spcPts val="0"/>
              </a:spcAft>
              <a:buClrTx/>
              <a:buSzTx/>
              <a:buFont typeface="Arial" panose="020B0604020202020204" pitchFamily="34" charset="0"/>
              <a:buNone/>
              <a:tabLst/>
              <a:defRPr sz="1960"/>
            </a:lvl1pPr>
          </a:lstStyle>
          <a:p>
            <a:pPr marL="0" marR="0" lvl="0" indent="0" algn="ctr" defTabSz="89620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ctr" defTabSz="89620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lick icon below to insert an image or </a:t>
            </a:r>
          </a:p>
          <a:p>
            <a:pPr marL="0" marR="0" lvl="0" indent="0" algn="ctr" defTabSz="89620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remove this placeholder to use the </a:t>
            </a:r>
          </a:p>
          <a:p>
            <a:pPr marL="0" marR="0" lvl="0" indent="0" algn="ctr" defTabSz="89620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whitespace in another way</a:t>
            </a:r>
          </a:p>
          <a:p>
            <a:pPr lvl="0"/>
            <a:endParaRPr lang="en-US" dirty="0"/>
          </a:p>
        </p:txBody>
      </p:sp>
      <p:sp>
        <p:nvSpPr>
          <p:cNvPr id="6" name="Slide Number Placeholder 5">
            <a:extLst>
              <a:ext uri="{FF2B5EF4-FFF2-40B4-BE49-F238E27FC236}">
                <a16:creationId xmlns:a16="http://schemas.microsoft.com/office/drawing/2014/main" id="{6564B88C-026A-C345-9FCB-014A0FB7628D}"/>
              </a:ext>
            </a:extLst>
          </p:cNvPr>
          <p:cNvSpPr>
            <a:spLocks noGrp="1"/>
          </p:cNvSpPr>
          <p:nvPr>
            <p:ph type="sldNum" sz="quarter" idx="12"/>
          </p:nvPr>
        </p:nvSpPr>
        <p:spPr>
          <a:xfrm>
            <a:off x="10545345" y="6229812"/>
            <a:ext cx="582266" cy="357856"/>
          </a:xfrm>
          <a:prstGeom prst="rect">
            <a:avLst/>
          </a:prstGeom>
          <a:noFill/>
          <a:ln>
            <a:noFill/>
          </a:ln>
        </p:spPr>
        <p:txBody>
          <a:bodyPr/>
          <a:lstStyle>
            <a:lvl1pPr>
              <a:defRPr>
                <a:solidFill>
                  <a:srgbClr val="343A5A"/>
                </a:solidFill>
              </a:defRPr>
            </a:lvl1pPr>
          </a:lstStyle>
          <a:p>
            <a:fld id="{EC660F99-C85D-9843-B6EF-278B03C06F86}" type="slidenum">
              <a:rPr lang="en-US" smtClean="0"/>
              <a:pPr/>
              <a:t>‹#›</a:t>
            </a:fld>
            <a:endParaRPr lang="en-US" dirty="0"/>
          </a:p>
        </p:txBody>
      </p:sp>
      <p:sp>
        <p:nvSpPr>
          <p:cNvPr id="13" name="Rectangle 12">
            <a:extLst>
              <a:ext uri="{FF2B5EF4-FFF2-40B4-BE49-F238E27FC236}">
                <a16:creationId xmlns:a16="http://schemas.microsoft.com/office/drawing/2014/main" id="{10C40D1C-F313-2147-B944-753C1A455361}"/>
              </a:ext>
            </a:extLst>
          </p:cNvPr>
          <p:cNvSpPr/>
          <p:nvPr userDrawn="1"/>
        </p:nvSpPr>
        <p:spPr>
          <a:xfrm flipH="1">
            <a:off x="5974556" y="0"/>
            <a:ext cx="5974556" cy="6721475"/>
          </a:xfrm>
          <a:prstGeom prst="rect">
            <a:avLst/>
          </a:prstGeom>
          <a:solidFill>
            <a:srgbClr val="176739"/>
          </a:solidFill>
          <a:ln>
            <a:solidFill>
              <a:srgbClr val="176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a:p>
        </p:txBody>
      </p:sp>
      <p:sp>
        <p:nvSpPr>
          <p:cNvPr id="8" name="Slide Number Placeholder 3">
            <a:extLst>
              <a:ext uri="{FF2B5EF4-FFF2-40B4-BE49-F238E27FC236}">
                <a16:creationId xmlns:a16="http://schemas.microsoft.com/office/drawing/2014/main" id="{0DD4508B-8E85-F74C-9D56-81B19B0AB634}"/>
              </a:ext>
            </a:extLst>
          </p:cNvPr>
          <p:cNvSpPr txBox="1">
            <a:spLocks/>
          </p:cNvSpPr>
          <p:nvPr userDrawn="1"/>
        </p:nvSpPr>
        <p:spPr>
          <a:xfrm>
            <a:off x="8809038" y="6126163"/>
            <a:ext cx="2689225" cy="331787"/>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fld id="{3D314921-4E57-464F-A582-181EFAE3A0A8}" type="slidenum">
              <a:rPr lang="en-US" smtClean="0"/>
              <a:pPr/>
              <a:t>‹#›</a:t>
            </a:fld>
            <a:endParaRPr lang="en-US"/>
          </a:p>
        </p:txBody>
      </p:sp>
    </p:spTree>
    <p:extLst>
      <p:ext uri="{BB962C8B-B14F-4D97-AF65-F5344CB8AC3E}">
        <p14:creationId xmlns:p14="http://schemas.microsoft.com/office/powerpoint/2010/main" val="26942874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verted blue slice (2/3)">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F9012E2-28B6-E844-8CB5-A2A2EAD45CDF}"/>
              </a:ext>
            </a:extLst>
          </p:cNvPr>
          <p:cNvGraphicFramePr>
            <a:graphicFrameLocks noChangeAspect="1"/>
          </p:cNvGraphicFramePr>
          <p:nvPr userDrawn="1">
            <p:custDataLst>
              <p:tags r:id="rId2"/>
            </p:custDataLst>
            <p:extLst>
              <p:ext uri="{D42A27DB-BD31-4B8C-83A1-F6EECF244321}">
                <p14:modId xmlns:p14="http://schemas.microsoft.com/office/powerpoint/2010/main" val="2088586266"/>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440232" name="think-cell Slide" r:id="rId4" imgW="7772400" imgH="10058400" progId="TCLayout.ActiveDocument.1">
                  <p:embed/>
                </p:oleObj>
              </mc:Choice>
              <mc:Fallback>
                <p:oleObj name="think-cell Slide" r:id="rId4" imgW="7772400" imgH="10058400" progId="TCLayout.ActiveDocument.1">
                  <p:embed/>
                  <p:pic>
                    <p:nvPicPr>
                      <p:cNvPr id="11" name="Object 10" hidden="1">
                        <a:extLst>
                          <a:ext uri="{FF2B5EF4-FFF2-40B4-BE49-F238E27FC236}">
                            <a16:creationId xmlns:a16="http://schemas.microsoft.com/office/drawing/2014/main" id="{5F9012E2-28B6-E844-8CB5-A2A2EAD45CDF}"/>
                          </a:ext>
                        </a:extLst>
                      </p:cNvPr>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83C05077-DB29-9B4D-AB89-705645F092A5}"/>
              </a:ext>
            </a:extLst>
          </p:cNvPr>
          <p:cNvSpPr/>
          <p:nvPr userDrawn="1"/>
        </p:nvSpPr>
        <p:spPr>
          <a:xfrm>
            <a:off x="7955694" y="0"/>
            <a:ext cx="3993420" cy="6721475"/>
          </a:xfrm>
          <a:prstGeom prst="rect">
            <a:avLst/>
          </a:prstGeom>
          <a:solidFill>
            <a:srgbClr val="343A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a:p>
        </p:txBody>
      </p:sp>
      <p:sp>
        <p:nvSpPr>
          <p:cNvPr id="3" name="Content Placeholder 2">
            <a:extLst>
              <a:ext uri="{FF2B5EF4-FFF2-40B4-BE49-F238E27FC236}">
                <a16:creationId xmlns:a16="http://schemas.microsoft.com/office/drawing/2014/main" id="{9D40B776-B903-A642-A3ED-247FCE207B14}"/>
              </a:ext>
            </a:extLst>
          </p:cNvPr>
          <p:cNvSpPr>
            <a:spLocks noGrp="1"/>
          </p:cNvSpPr>
          <p:nvPr>
            <p:ph idx="1"/>
          </p:nvPr>
        </p:nvSpPr>
        <p:spPr>
          <a:xfrm>
            <a:off x="7955694" y="1"/>
            <a:ext cx="3993420" cy="6721474"/>
          </a:xfrm>
          <a:solidFill>
            <a:srgbClr val="176739"/>
          </a:solidFill>
        </p:spPr>
        <p:txBody>
          <a:bodyPr>
            <a:normAutofit/>
          </a:bodyPr>
          <a:lstStyle>
            <a:lvl1pPr marL="0" marR="0" indent="0" algn="ctr" defTabSz="896203" rtl="0" eaLnBrk="1" fontAlgn="auto" latinLnBrk="0" hangingPunct="1">
              <a:lnSpc>
                <a:spcPct val="100000"/>
              </a:lnSpc>
              <a:spcBef>
                <a:spcPts val="0"/>
              </a:spcBef>
              <a:spcAft>
                <a:spcPts val="0"/>
              </a:spcAft>
              <a:buClrTx/>
              <a:buSzTx/>
              <a:buFont typeface="Arial" panose="020B0604020202020204" pitchFamily="34" charset="0"/>
              <a:buNone/>
              <a:tabLst/>
              <a:defRPr sz="1764">
                <a:solidFill>
                  <a:schemeClr val="bg1"/>
                </a:solidFill>
              </a:defRPr>
            </a:lvl1pPr>
          </a:lstStyle>
          <a:p>
            <a:pPr marL="0" marR="0" lvl="0" indent="0" algn="ctr" defTabSz="89620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ctr" defTabSz="89620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ctr" defTabSz="89620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ctr" defTabSz="89620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Click icon below to insert an image or remove this placeholder to use the whitespace in another way</a:t>
            </a:r>
          </a:p>
        </p:txBody>
      </p:sp>
      <p:sp>
        <p:nvSpPr>
          <p:cNvPr id="16" name="Text Placeholder 15">
            <a:extLst>
              <a:ext uri="{FF2B5EF4-FFF2-40B4-BE49-F238E27FC236}">
                <a16:creationId xmlns:a16="http://schemas.microsoft.com/office/drawing/2014/main" id="{337C8C27-3231-CA42-9AFB-C37B67036885}"/>
              </a:ext>
            </a:extLst>
          </p:cNvPr>
          <p:cNvSpPr>
            <a:spLocks noGrp="1"/>
          </p:cNvSpPr>
          <p:nvPr>
            <p:ph type="body" sz="quarter" idx="14" hasCustomPrompt="1"/>
          </p:nvPr>
        </p:nvSpPr>
        <p:spPr>
          <a:xfrm>
            <a:off x="611459" y="2045826"/>
            <a:ext cx="6421092" cy="2629823"/>
          </a:xfrm>
        </p:spPr>
        <p:txBody>
          <a:bodyPr anchor="ctr">
            <a:normAutofit/>
          </a:bodyPr>
          <a:lstStyle>
            <a:lvl1pPr marL="0" indent="0" algn="l">
              <a:buNone/>
              <a:defRPr sz="3136">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Tree>
    <p:extLst>
      <p:ext uri="{BB962C8B-B14F-4D97-AF65-F5344CB8AC3E}">
        <p14:creationId xmlns:p14="http://schemas.microsoft.com/office/powerpoint/2010/main" val="34358949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PRP Agenda Default">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27169242"/>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4299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11" name="TextBox 10"/>
          <p:cNvSpPr txBox="1"/>
          <p:nvPr userDrawn="1"/>
        </p:nvSpPr>
        <p:spPr>
          <a:xfrm>
            <a:off x="617449" y="889138"/>
            <a:ext cx="3380094" cy="1196171"/>
          </a:xfrm>
          <a:prstGeom prst="rect">
            <a:avLst/>
          </a:prstGeom>
          <a:noFill/>
          <a:ln>
            <a:solidFill>
              <a:schemeClr val="tx1"/>
            </a:solidFill>
          </a:ln>
        </p:spPr>
        <p:txBody>
          <a:bodyPr wrap="square" lIns="599808" tIns="458677" rIns="0" bIns="0" rtlCol="0" anchor="t">
            <a:spAutoFit/>
          </a:bodyPr>
          <a:lstStyle/>
          <a:p>
            <a:pPr>
              <a:lnSpc>
                <a:spcPct val="90000"/>
              </a:lnSpc>
              <a:spcAft>
                <a:spcPts val="588"/>
              </a:spcAft>
            </a:pPr>
            <a:endParaRPr lang="en-US" sz="5293" dirty="0">
              <a:solidFill>
                <a:srgbClr val="333A5E"/>
              </a:solidFill>
            </a:endParaRPr>
          </a:p>
        </p:txBody>
      </p:sp>
      <p:sp>
        <p:nvSpPr>
          <p:cNvPr id="4" name="Text Placeholder 3">
            <a:extLst>
              <a:ext uri="{FF2B5EF4-FFF2-40B4-BE49-F238E27FC236}">
                <a16:creationId xmlns:a16="http://schemas.microsoft.com/office/drawing/2014/main" id="{E1D14662-5EA6-6946-B18A-007366D18E86}"/>
              </a:ext>
            </a:extLst>
          </p:cNvPr>
          <p:cNvSpPr>
            <a:spLocks noGrp="1"/>
          </p:cNvSpPr>
          <p:nvPr>
            <p:ph type="body" sz="quarter" idx="10" hasCustomPrompt="1"/>
          </p:nvPr>
        </p:nvSpPr>
        <p:spPr>
          <a:xfrm>
            <a:off x="4626760" y="889138"/>
            <a:ext cx="5036365" cy="5012380"/>
          </a:xfrm>
        </p:spPr>
        <p:txBody>
          <a:bodyPr>
            <a:normAutofit/>
          </a:bodyPr>
          <a:lstStyle>
            <a:lvl1pPr>
              <a:defRPr sz="2352">
                <a:solidFill>
                  <a:srgbClr val="176739"/>
                </a:solidFill>
              </a:defRPr>
            </a:lvl1pPr>
            <a:lvl2pPr>
              <a:defRPr sz="2352">
                <a:solidFill>
                  <a:srgbClr val="176739"/>
                </a:solidFill>
              </a:defRPr>
            </a:lvl2pPr>
            <a:lvl3pPr>
              <a:defRPr sz="2352">
                <a:solidFill>
                  <a:srgbClr val="176739"/>
                </a:solidFill>
              </a:defRPr>
            </a:lvl3pPr>
            <a:lvl4pPr>
              <a:defRPr sz="2352">
                <a:solidFill>
                  <a:srgbClr val="176739"/>
                </a:solidFill>
              </a:defRPr>
            </a:lvl4pPr>
            <a:lvl5pPr>
              <a:defRPr sz="2352">
                <a:solidFill>
                  <a:srgbClr val="176739"/>
                </a:solidFill>
              </a:defRPr>
            </a:lvl5pPr>
          </a:lstStyle>
          <a:p>
            <a:pPr lvl="0"/>
            <a:r>
              <a:rPr lang="en-GB" dirty="0"/>
              <a:t>Click to edit first level text</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TextBox 1">
            <a:extLst>
              <a:ext uri="{FF2B5EF4-FFF2-40B4-BE49-F238E27FC236}">
                <a16:creationId xmlns:a16="http://schemas.microsoft.com/office/drawing/2014/main" id="{31A8A388-A6D7-A649-92B5-BCAA6FD26AF6}"/>
              </a:ext>
            </a:extLst>
          </p:cNvPr>
          <p:cNvSpPr txBox="1"/>
          <p:nvPr userDrawn="1"/>
        </p:nvSpPr>
        <p:spPr>
          <a:xfrm>
            <a:off x="1059393" y="2971610"/>
            <a:ext cx="2622834" cy="780085"/>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704" dirty="0">
                <a:solidFill>
                  <a:srgbClr val="176739"/>
                </a:solidFill>
                <a:latin typeface="Century Gothic" panose="020B0502020202020204" pitchFamily="34" charset="0"/>
              </a:rPr>
              <a:t>Agenda</a:t>
            </a:r>
          </a:p>
        </p:txBody>
      </p:sp>
      <p:cxnSp>
        <p:nvCxnSpPr>
          <p:cNvPr id="17" name="Straight Connector 16">
            <a:extLst>
              <a:ext uri="{FF2B5EF4-FFF2-40B4-BE49-F238E27FC236}">
                <a16:creationId xmlns:a16="http://schemas.microsoft.com/office/drawing/2014/main" id="{652376E7-1A8F-C84C-BAEE-02F6895BABC5}"/>
              </a:ext>
            </a:extLst>
          </p:cNvPr>
          <p:cNvCxnSpPr/>
          <p:nvPr userDrawn="1"/>
        </p:nvCxnSpPr>
        <p:spPr>
          <a:xfrm>
            <a:off x="3998596" y="478359"/>
            <a:ext cx="0" cy="5776347"/>
          </a:xfrm>
          <a:prstGeom prst="line">
            <a:avLst/>
          </a:prstGeom>
          <a:ln w="38100">
            <a:solidFill>
              <a:srgbClr val="176739"/>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E80734B1-0579-7A44-9CE0-4E72C6BB0124}"/>
              </a:ext>
            </a:extLst>
          </p:cNvPr>
          <p:cNvPicPr>
            <a:picLocks noChangeAspect="1"/>
          </p:cNvPicPr>
          <p:nvPr userDrawn="1"/>
        </p:nvPicPr>
        <p:blipFill>
          <a:blip r:embed="rId6"/>
          <a:srcRect r="27807"/>
          <a:stretch>
            <a:fillRect/>
          </a:stretch>
        </p:blipFill>
        <p:spPr>
          <a:xfrm flipH="1">
            <a:off x="7391399" y="2857817"/>
            <a:ext cx="4446305" cy="4245379"/>
          </a:xfrm>
          <a:custGeom>
            <a:avLst/>
            <a:gdLst>
              <a:gd name="connsiteX0" fmla="*/ 0 w 5994518"/>
              <a:gd name="connsiteY0" fmla="*/ 0 h 6242845"/>
              <a:gd name="connsiteX1" fmla="*/ 26078 w 5994518"/>
              <a:gd name="connsiteY1" fmla="*/ 0 h 6242845"/>
              <a:gd name="connsiteX2" fmla="*/ 5994518 w 5994518"/>
              <a:gd name="connsiteY2" fmla="*/ 6242845 h 6242845"/>
              <a:gd name="connsiteX3" fmla="*/ 0 w 5994518"/>
              <a:gd name="connsiteY3" fmla="*/ 6242845 h 6242845"/>
            </a:gdLst>
            <a:ahLst/>
            <a:cxnLst>
              <a:cxn ang="0">
                <a:pos x="connsiteX0" y="connsiteY0"/>
              </a:cxn>
              <a:cxn ang="0">
                <a:pos x="connsiteX1" y="connsiteY1"/>
              </a:cxn>
              <a:cxn ang="0">
                <a:pos x="connsiteX2" y="connsiteY2"/>
              </a:cxn>
              <a:cxn ang="0">
                <a:pos x="connsiteX3" y="connsiteY3"/>
              </a:cxn>
            </a:cxnLst>
            <a:rect l="l" t="t" r="r" b="b"/>
            <a:pathLst>
              <a:path w="5994518" h="6242845">
                <a:moveTo>
                  <a:pt x="0" y="0"/>
                </a:moveTo>
                <a:lnTo>
                  <a:pt x="26078" y="0"/>
                </a:lnTo>
                <a:lnTo>
                  <a:pt x="5994518" y="6242845"/>
                </a:lnTo>
                <a:lnTo>
                  <a:pt x="0" y="6242845"/>
                </a:lnTo>
                <a:close/>
              </a:path>
            </a:pathLst>
          </a:custGeom>
        </p:spPr>
      </p:pic>
    </p:spTree>
    <p:extLst>
      <p:ext uri="{BB962C8B-B14F-4D97-AF65-F5344CB8AC3E}">
        <p14:creationId xmlns:p14="http://schemas.microsoft.com/office/powerpoint/2010/main" val="2471831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PRP green arrow (1/3)">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F9012E2-28B6-E844-8CB5-A2A2EAD45CDF}"/>
              </a:ext>
            </a:extLst>
          </p:cNvPr>
          <p:cNvGraphicFramePr>
            <a:graphicFrameLocks noChangeAspect="1"/>
          </p:cNvGraphicFramePr>
          <p:nvPr userDrawn="1">
            <p:custDataLst>
              <p:tags r:id="rId2"/>
            </p:custDataLst>
            <p:extLst>
              <p:ext uri="{D42A27DB-BD31-4B8C-83A1-F6EECF244321}">
                <p14:modId xmlns:p14="http://schemas.microsoft.com/office/powerpoint/2010/main" val="2190867472"/>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441256" name="think-cell Slide" r:id="rId4" imgW="7772400" imgH="10058400" progId="TCLayout.ActiveDocument.1">
                  <p:embed/>
                </p:oleObj>
              </mc:Choice>
              <mc:Fallback>
                <p:oleObj name="think-cell Slide" r:id="rId4" imgW="7772400" imgH="10058400" progId="TCLayout.ActiveDocument.1">
                  <p:embed/>
                  <p:pic>
                    <p:nvPicPr>
                      <p:cNvPr id="11" name="Object 10" hidden="1">
                        <a:extLst>
                          <a:ext uri="{FF2B5EF4-FFF2-40B4-BE49-F238E27FC236}">
                            <a16:creationId xmlns:a16="http://schemas.microsoft.com/office/drawing/2014/main" id="{5F9012E2-28B6-E844-8CB5-A2A2EAD45CDF}"/>
                          </a:ext>
                        </a:extLst>
                      </p:cNvPr>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13" name="Freeform 14">
            <a:extLst>
              <a:ext uri="{FF2B5EF4-FFF2-40B4-BE49-F238E27FC236}">
                <a16:creationId xmlns:a16="http://schemas.microsoft.com/office/drawing/2014/main" id="{CF1D44F9-37A9-FE46-9485-E48E832D7B50}"/>
              </a:ext>
            </a:extLst>
          </p:cNvPr>
          <p:cNvSpPr/>
          <p:nvPr userDrawn="1"/>
        </p:nvSpPr>
        <p:spPr bwMode="ltGray">
          <a:xfrm>
            <a:off x="0" y="0"/>
            <a:ext cx="4006865" cy="6721475"/>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17673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80"/>
              </a:spcAft>
            </a:pPr>
            <a:endParaRPr lang="en-US" sz="1176" dirty="0">
              <a:solidFill>
                <a:prstClr val="white"/>
              </a:solidFill>
              <a:latin typeface="+mn-lt"/>
              <a:sym typeface="Trebuchet MS" panose="020B0603020202020204" pitchFamily="34" charset="0"/>
            </a:endParaRPr>
          </a:p>
        </p:txBody>
      </p:sp>
      <p:sp>
        <p:nvSpPr>
          <p:cNvPr id="2" name="Title 1">
            <a:extLst>
              <a:ext uri="{FF2B5EF4-FFF2-40B4-BE49-F238E27FC236}">
                <a16:creationId xmlns:a16="http://schemas.microsoft.com/office/drawing/2014/main" id="{69ABA51E-D23F-D54C-8533-640229D4328D}"/>
              </a:ext>
            </a:extLst>
          </p:cNvPr>
          <p:cNvSpPr>
            <a:spLocks noGrp="1"/>
          </p:cNvSpPr>
          <p:nvPr>
            <p:ph type="title" hasCustomPrompt="1"/>
          </p:nvPr>
        </p:nvSpPr>
        <p:spPr>
          <a:xfrm>
            <a:off x="4333124" y="245059"/>
            <a:ext cx="7165139" cy="383591"/>
          </a:xfrm>
          <a:prstGeom prst="rect">
            <a:avLst/>
          </a:prstGeom>
        </p:spPr>
        <p:txBody>
          <a:bodyPr>
            <a:normAutofit/>
          </a:bodyPr>
          <a:lstStyle>
            <a:lvl1pPr>
              <a:defRPr sz="2400">
                <a:solidFill>
                  <a:schemeClr val="tx2"/>
                </a:solidFill>
              </a:defRPr>
            </a:lvl1pPr>
          </a:lstStyle>
          <a:p>
            <a:r>
              <a:rPr lang="en-US" dirty="0"/>
              <a:t>Click to add title</a:t>
            </a:r>
          </a:p>
        </p:txBody>
      </p:sp>
      <p:sp>
        <p:nvSpPr>
          <p:cNvPr id="3" name="Content Placeholder 2">
            <a:extLst>
              <a:ext uri="{FF2B5EF4-FFF2-40B4-BE49-F238E27FC236}">
                <a16:creationId xmlns:a16="http://schemas.microsoft.com/office/drawing/2014/main" id="{9D40B776-B903-A642-A3ED-247FCE207B14}"/>
              </a:ext>
            </a:extLst>
          </p:cNvPr>
          <p:cNvSpPr>
            <a:spLocks noGrp="1"/>
          </p:cNvSpPr>
          <p:nvPr>
            <p:ph idx="1" hasCustomPrompt="1"/>
          </p:nvPr>
        </p:nvSpPr>
        <p:spPr>
          <a:xfrm>
            <a:off x="4333124" y="1063625"/>
            <a:ext cx="7165138" cy="5062537"/>
          </a:xfrm>
        </p:spPr>
        <p:txBody>
          <a:bodyPr/>
          <a:lstStyle/>
          <a:p>
            <a:pPr lvl="0"/>
            <a:r>
              <a:rPr lang="en-US" dirty="0"/>
              <a:t>Click to add first level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5">
            <a:extLst>
              <a:ext uri="{FF2B5EF4-FFF2-40B4-BE49-F238E27FC236}">
                <a16:creationId xmlns:a16="http://schemas.microsoft.com/office/drawing/2014/main" id="{337C8C27-3231-CA42-9AFB-C37B67036885}"/>
              </a:ext>
            </a:extLst>
          </p:cNvPr>
          <p:cNvSpPr>
            <a:spLocks noGrp="1"/>
          </p:cNvSpPr>
          <p:nvPr>
            <p:ph type="body" sz="quarter" idx="14" hasCustomPrompt="1"/>
          </p:nvPr>
        </p:nvSpPr>
        <p:spPr>
          <a:xfrm>
            <a:off x="434975" y="2591773"/>
            <a:ext cx="2557190" cy="1537930"/>
          </a:xfrm>
        </p:spPr>
        <p:txBody>
          <a:bodyPr>
            <a:normAutofit/>
          </a:bodyPr>
          <a:lstStyle>
            <a:lvl1pPr marL="0" indent="0" algn="ctr">
              <a:buNone/>
              <a:defRPr sz="3136">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9" name="Slide Number Placeholder 3">
            <a:extLst>
              <a:ext uri="{FF2B5EF4-FFF2-40B4-BE49-F238E27FC236}">
                <a16:creationId xmlns:a16="http://schemas.microsoft.com/office/drawing/2014/main" id="{595B1A4A-8154-4E4E-9844-064C20E92B21}"/>
              </a:ext>
            </a:extLst>
          </p:cNvPr>
          <p:cNvSpPr>
            <a:spLocks noGrp="1"/>
          </p:cNvSpPr>
          <p:nvPr>
            <p:ph type="sldNum" sz="quarter" idx="4"/>
          </p:nvPr>
        </p:nvSpPr>
        <p:spPr>
          <a:xfrm>
            <a:off x="8809038" y="6126163"/>
            <a:ext cx="2689225" cy="331787"/>
          </a:xfrm>
          <a:prstGeom prst="rect">
            <a:avLst/>
          </a:prstGeom>
        </p:spPr>
        <p:txBody>
          <a:bodyPr vert="horz" lIns="91440" tIns="45720" rIns="91440" bIns="45720" rtlCol="0" anchor="ctr"/>
          <a:lstStyle>
            <a:lvl1pPr algn="r">
              <a:defRPr sz="1200">
                <a:solidFill>
                  <a:schemeClr val="tx1">
                    <a:tint val="75000"/>
                  </a:schemeClr>
                </a:solidFill>
              </a:defRPr>
            </a:lvl1pPr>
          </a:lstStyle>
          <a:p>
            <a:fld id="{3D314921-4E57-464F-A582-181EFAE3A0A8}" type="slidenum">
              <a:rPr lang="en-US" smtClean="0"/>
              <a:t>‹#›</a:t>
            </a:fld>
            <a:endParaRPr lang="en-US"/>
          </a:p>
        </p:txBody>
      </p:sp>
    </p:spTree>
    <p:extLst>
      <p:ext uri="{BB962C8B-B14F-4D97-AF65-F5344CB8AC3E}">
        <p14:creationId xmlns:p14="http://schemas.microsoft.com/office/powerpoint/2010/main" val="5565171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verted blue arrow (1/3)">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F9012E2-28B6-E844-8CB5-A2A2EAD45CDF}"/>
              </a:ext>
            </a:extLst>
          </p:cNvPr>
          <p:cNvGraphicFramePr>
            <a:graphicFrameLocks noChangeAspect="1"/>
          </p:cNvGraphicFramePr>
          <p:nvPr userDrawn="1">
            <p:custDataLst>
              <p:tags r:id="rId2"/>
            </p:custDataLst>
            <p:extLst>
              <p:ext uri="{D42A27DB-BD31-4B8C-83A1-F6EECF244321}">
                <p14:modId xmlns:p14="http://schemas.microsoft.com/office/powerpoint/2010/main" val="153792221"/>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442280" name="think-cell Slide" r:id="rId4" imgW="7772400" imgH="10058400" progId="TCLayout.ActiveDocument.1">
                  <p:embed/>
                </p:oleObj>
              </mc:Choice>
              <mc:Fallback>
                <p:oleObj name="think-cell Slide" r:id="rId4" imgW="7772400" imgH="10058400" progId="TCLayout.ActiveDocument.1">
                  <p:embed/>
                  <p:pic>
                    <p:nvPicPr>
                      <p:cNvPr id="11" name="Object 10" hidden="1">
                        <a:extLst>
                          <a:ext uri="{FF2B5EF4-FFF2-40B4-BE49-F238E27FC236}">
                            <a16:creationId xmlns:a16="http://schemas.microsoft.com/office/drawing/2014/main" id="{5F9012E2-28B6-E844-8CB5-A2A2EAD45CDF}"/>
                          </a:ext>
                        </a:extLst>
                      </p:cNvPr>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E764684-DD41-964A-AFFA-C1824B7F9347}"/>
              </a:ext>
            </a:extLst>
          </p:cNvPr>
          <p:cNvSpPr/>
          <p:nvPr userDrawn="1"/>
        </p:nvSpPr>
        <p:spPr>
          <a:xfrm>
            <a:off x="0" y="0"/>
            <a:ext cx="11949113" cy="6721475"/>
          </a:xfrm>
          <a:prstGeom prst="rect">
            <a:avLst/>
          </a:prstGeom>
          <a:solidFill>
            <a:srgbClr val="1767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a:p>
        </p:txBody>
      </p:sp>
      <p:sp>
        <p:nvSpPr>
          <p:cNvPr id="13" name="Freeform 14">
            <a:extLst>
              <a:ext uri="{FF2B5EF4-FFF2-40B4-BE49-F238E27FC236}">
                <a16:creationId xmlns:a16="http://schemas.microsoft.com/office/drawing/2014/main" id="{CF1D44F9-37A9-FE46-9485-E48E832D7B50}"/>
              </a:ext>
            </a:extLst>
          </p:cNvPr>
          <p:cNvSpPr/>
          <p:nvPr userDrawn="1"/>
        </p:nvSpPr>
        <p:spPr bwMode="ltGray">
          <a:xfrm>
            <a:off x="0" y="0"/>
            <a:ext cx="4006865" cy="6721475"/>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80"/>
              </a:spcAft>
            </a:pPr>
            <a:endParaRPr lang="en-US" sz="1176" dirty="0">
              <a:solidFill>
                <a:prstClr val="white"/>
              </a:solidFill>
              <a:latin typeface="+mn-lt"/>
              <a:sym typeface="Trebuchet MS" panose="020B0603020202020204" pitchFamily="34" charset="0"/>
            </a:endParaRPr>
          </a:p>
        </p:txBody>
      </p:sp>
      <p:sp>
        <p:nvSpPr>
          <p:cNvPr id="2" name="Title 1">
            <a:extLst>
              <a:ext uri="{FF2B5EF4-FFF2-40B4-BE49-F238E27FC236}">
                <a16:creationId xmlns:a16="http://schemas.microsoft.com/office/drawing/2014/main" id="{69ABA51E-D23F-D54C-8533-640229D4328D}"/>
              </a:ext>
            </a:extLst>
          </p:cNvPr>
          <p:cNvSpPr>
            <a:spLocks noGrp="1"/>
          </p:cNvSpPr>
          <p:nvPr>
            <p:ph type="title" hasCustomPrompt="1"/>
          </p:nvPr>
        </p:nvSpPr>
        <p:spPr>
          <a:xfrm>
            <a:off x="4280210" y="239713"/>
            <a:ext cx="7218053" cy="388937"/>
          </a:xfrm>
          <a:prstGeom prst="rect">
            <a:avLst/>
          </a:prstGeom>
        </p:spPr>
        <p:txBody>
          <a:bodyPr>
            <a:normAutofit/>
          </a:bodyPr>
          <a:lstStyle>
            <a:lvl1pPr>
              <a:defRPr sz="2400">
                <a:solidFill>
                  <a:schemeClr val="bg1"/>
                </a:solidFill>
              </a:defRPr>
            </a:lvl1pPr>
          </a:lstStyle>
          <a:p>
            <a:r>
              <a:rPr lang="en-US" dirty="0"/>
              <a:t>Click to add title</a:t>
            </a:r>
          </a:p>
        </p:txBody>
      </p:sp>
      <p:sp>
        <p:nvSpPr>
          <p:cNvPr id="3" name="Content Placeholder 2">
            <a:extLst>
              <a:ext uri="{FF2B5EF4-FFF2-40B4-BE49-F238E27FC236}">
                <a16:creationId xmlns:a16="http://schemas.microsoft.com/office/drawing/2014/main" id="{9D40B776-B903-A642-A3ED-247FCE207B14}"/>
              </a:ext>
            </a:extLst>
          </p:cNvPr>
          <p:cNvSpPr>
            <a:spLocks noGrp="1"/>
          </p:cNvSpPr>
          <p:nvPr>
            <p:ph idx="1" hasCustomPrompt="1"/>
          </p:nvPr>
        </p:nvSpPr>
        <p:spPr>
          <a:xfrm>
            <a:off x="4280210" y="1063625"/>
            <a:ext cx="7218052" cy="50625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first level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5">
            <a:extLst>
              <a:ext uri="{FF2B5EF4-FFF2-40B4-BE49-F238E27FC236}">
                <a16:creationId xmlns:a16="http://schemas.microsoft.com/office/drawing/2014/main" id="{337C8C27-3231-CA42-9AFB-C37B67036885}"/>
              </a:ext>
            </a:extLst>
          </p:cNvPr>
          <p:cNvSpPr>
            <a:spLocks noGrp="1"/>
          </p:cNvSpPr>
          <p:nvPr>
            <p:ph type="body" sz="quarter" idx="14" hasCustomPrompt="1"/>
          </p:nvPr>
        </p:nvSpPr>
        <p:spPr>
          <a:xfrm>
            <a:off x="434975" y="2591773"/>
            <a:ext cx="2752340" cy="1537930"/>
          </a:xfrm>
        </p:spPr>
        <p:txBody>
          <a:bodyPr anchor="ctr">
            <a:normAutofit/>
          </a:bodyPr>
          <a:lstStyle>
            <a:lvl1pPr marL="0" indent="0" algn="l">
              <a:buNone/>
              <a:defRPr sz="3136">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10" name="Slide Number Placeholder 3">
            <a:extLst>
              <a:ext uri="{FF2B5EF4-FFF2-40B4-BE49-F238E27FC236}">
                <a16:creationId xmlns:a16="http://schemas.microsoft.com/office/drawing/2014/main" id="{5EB277FB-F4C9-F947-8B36-45A621E93C3F}"/>
              </a:ext>
            </a:extLst>
          </p:cNvPr>
          <p:cNvSpPr>
            <a:spLocks noGrp="1"/>
          </p:cNvSpPr>
          <p:nvPr>
            <p:ph type="sldNum" sz="quarter" idx="4"/>
          </p:nvPr>
        </p:nvSpPr>
        <p:spPr>
          <a:xfrm>
            <a:off x="8809038" y="6126163"/>
            <a:ext cx="2689225" cy="331787"/>
          </a:xfrm>
          <a:prstGeom prst="rect">
            <a:avLst/>
          </a:prstGeom>
        </p:spPr>
        <p:txBody>
          <a:bodyPr vert="horz" lIns="91440" tIns="45720" rIns="91440" bIns="45720" rtlCol="0" anchor="ctr"/>
          <a:lstStyle>
            <a:lvl1pPr algn="r">
              <a:defRPr sz="1200">
                <a:solidFill>
                  <a:schemeClr val="tx1">
                    <a:tint val="75000"/>
                  </a:schemeClr>
                </a:solidFill>
              </a:defRPr>
            </a:lvl1pPr>
          </a:lstStyle>
          <a:p>
            <a:fld id="{3D314921-4E57-464F-A582-181EFAE3A0A8}" type="slidenum">
              <a:rPr lang="en-US" smtClean="0"/>
              <a:t>‹#›</a:t>
            </a:fld>
            <a:endParaRPr lang="en-US"/>
          </a:p>
        </p:txBody>
      </p:sp>
    </p:spTree>
    <p:extLst>
      <p:ext uri="{BB962C8B-B14F-4D97-AF65-F5344CB8AC3E}">
        <p14:creationId xmlns:p14="http://schemas.microsoft.com/office/powerpoint/2010/main" val="30173503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PRP green arrow (1/2)">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F9012E2-28B6-E844-8CB5-A2A2EAD45CDF}"/>
              </a:ext>
            </a:extLst>
          </p:cNvPr>
          <p:cNvGraphicFramePr>
            <a:graphicFrameLocks noChangeAspect="1"/>
          </p:cNvGraphicFramePr>
          <p:nvPr userDrawn="1">
            <p:custDataLst>
              <p:tags r:id="rId2"/>
            </p:custDataLst>
            <p:extLst>
              <p:ext uri="{D42A27DB-BD31-4B8C-83A1-F6EECF244321}">
                <p14:modId xmlns:p14="http://schemas.microsoft.com/office/powerpoint/2010/main" val="3027306123"/>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443304" name="think-cell Slide" r:id="rId4" imgW="7772400" imgH="10058400" progId="TCLayout.ActiveDocument.1">
                  <p:embed/>
                </p:oleObj>
              </mc:Choice>
              <mc:Fallback>
                <p:oleObj name="think-cell Slide" r:id="rId4" imgW="7772400" imgH="10058400" progId="TCLayout.ActiveDocument.1">
                  <p:embed/>
                  <p:pic>
                    <p:nvPicPr>
                      <p:cNvPr id="11" name="Object 10" hidden="1">
                        <a:extLst>
                          <a:ext uri="{FF2B5EF4-FFF2-40B4-BE49-F238E27FC236}">
                            <a16:creationId xmlns:a16="http://schemas.microsoft.com/office/drawing/2014/main" id="{5F9012E2-28B6-E844-8CB5-A2A2EAD45CDF}"/>
                          </a:ext>
                        </a:extLst>
                      </p:cNvPr>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14" name="Pentagon 8">
            <a:extLst>
              <a:ext uri="{FF2B5EF4-FFF2-40B4-BE49-F238E27FC236}">
                <a16:creationId xmlns:a16="http://schemas.microsoft.com/office/drawing/2014/main" id="{573BE8E0-70BD-9C4A-90D9-BE772B88B383}"/>
              </a:ext>
            </a:extLst>
          </p:cNvPr>
          <p:cNvSpPr/>
          <p:nvPr userDrawn="1"/>
        </p:nvSpPr>
        <p:spPr bwMode="white">
          <a:xfrm>
            <a:off x="0" y="0"/>
            <a:ext cx="6236772" cy="6721475"/>
          </a:xfrm>
          <a:prstGeom prst="homePlate">
            <a:avLst>
              <a:gd name="adj" fmla="val 12939"/>
            </a:avLst>
          </a:prstGeom>
          <a:solidFill>
            <a:schemeClr val="tx2"/>
          </a:solidFill>
          <a:ln>
            <a:solidFill>
              <a:srgbClr val="176739"/>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80"/>
              </a:spcAft>
            </a:pPr>
            <a:endParaRPr lang="en-US" sz="1176" dirty="0">
              <a:solidFill>
                <a:prstClr val="white"/>
              </a:solidFill>
              <a:latin typeface="+mn-lt"/>
              <a:sym typeface="Trebuchet MS" panose="020B0603020202020204" pitchFamily="34" charset="0"/>
            </a:endParaRPr>
          </a:p>
        </p:txBody>
      </p:sp>
      <p:sp>
        <p:nvSpPr>
          <p:cNvPr id="2" name="Title 1">
            <a:extLst>
              <a:ext uri="{FF2B5EF4-FFF2-40B4-BE49-F238E27FC236}">
                <a16:creationId xmlns:a16="http://schemas.microsoft.com/office/drawing/2014/main" id="{69ABA51E-D23F-D54C-8533-640229D4328D}"/>
              </a:ext>
            </a:extLst>
          </p:cNvPr>
          <p:cNvSpPr>
            <a:spLocks noGrp="1"/>
          </p:cNvSpPr>
          <p:nvPr>
            <p:ph type="title" hasCustomPrompt="1"/>
          </p:nvPr>
        </p:nvSpPr>
        <p:spPr>
          <a:xfrm>
            <a:off x="6750939" y="2877803"/>
            <a:ext cx="4586717" cy="965869"/>
          </a:xfrm>
          <a:prstGeom prst="rect">
            <a:avLst/>
          </a:prstGeom>
        </p:spPr>
        <p:txBody>
          <a:bodyPr anchor="ctr">
            <a:normAutofit/>
          </a:bodyPr>
          <a:lstStyle>
            <a:lvl1pPr algn="ctr">
              <a:defRPr sz="2800">
                <a:solidFill>
                  <a:schemeClr val="tx2"/>
                </a:solidFill>
              </a:defRPr>
            </a:lvl1pPr>
          </a:lstStyle>
          <a:p>
            <a:r>
              <a:rPr lang="en-US" dirty="0"/>
              <a:t>Click to add title</a:t>
            </a:r>
          </a:p>
        </p:txBody>
      </p:sp>
      <p:sp>
        <p:nvSpPr>
          <p:cNvPr id="16" name="Text Placeholder 15">
            <a:extLst>
              <a:ext uri="{FF2B5EF4-FFF2-40B4-BE49-F238E27FC236}">
                <a16:creationId xmlns:a16="http://schemas.microsoft.com/office/drawing/2014/main" id="{337C8C27-3231-CA42-9AFB-C37B67036885}"/>
              </a:ext>
            </a:extLst>
          </p:cNvPr>
          <p:cNvSpPr>
            <a:spLocks noGrp="1"/>
          </p:cNvSpPr>
          <p:nvPr>
            <p:ph type="body" sz="quarter" idx="14" hasCustomPrompt="1"/>
          </p:nvPr>
        </p:nvSpPr>
        <p:spPr>
          <a:xfrm>
            <a:off x="611458" y="2877803"/>
            <a:ext cx="4586718" cy="965869"/>
          </a:xfrm>
        </p:spPr>
        <p:txBody>
          <a:bodyPr anchor="ctr">
            <a:normAutofit/>
          </a:bodyPr>
          <a:lstStyle>
            <a:lvl1pPr marL="0" indent="0" algn="ctr">
              <a:buNone/>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7" name="Slide Number Placeholder 3">
            <a:extLst>
              <a:ext uri="{FF2B5EF4-FFF2-40B4-BE49-F238E27FC236}">
                <a16:creationId xmlns:a16="http://schemas.microsoft.com/office/drawing/2014/main" id="{A2F812C7-2A9A-994B-B043-821F0BC8A802}"/>
              </a:ext>
            </a:extLst>
          </p:cNvPr>
          <p:cNvSpPr>
            <a:spLocks noGrp="1"/>
          </p:cNvSpPr>
          <p:nvPr>
            <p:ph type="sldNum" sz="quarter" idx="4"/>
          </p:nvPr>
        </p:nvSpPr>
        <p:spPr>
          <a:xfrm>
            <a:off x="8809038" y="6126163"/>
            <a:ext cx="2689225" cy="331787"/>
          </a:xfrm>
          <a:prstGeom prst="rect">
            <a:avLst/>
          </a:prstGeom>
        </p:spPr>
        <p:txBody>
          <a:bodyPr vert="horz" lIns="91440" tIns="45720" rIns="91440" bIns="45720" rtlCol="0" anchor="ctr"/>
          <a:lstStyle>
            <a:lvl1pPr algn="r">
              <a:defRPr sz="1200">
                <a:solidFill>
                  <a:schemeClr val="tx1">
                    <a:tint val="75000"/>
                  </a:schemeClr>
                </a:solidFill>
              </a:defRPr>
            </a:lvl1pPr>
          </a:lstStyle>
          <a:p>
            <a:fld id="{3D314921-4E57-464F-A582-181EFAE3A0A8}" type="slidenum">
              <a:rPr lang="en-US" smtClean="0"/>
              <a:t>‹#›</a:t>
            </a:fld>
            <a:endParaRPr lang="en-US"/>
          </a:p>
        </p:txBody>
      </p:sp>
    </p:spTree>
    <p:extLst>
      <p:ext uri="{BB962C8B-B14F-4D97-AF65-F5344CB8AC3E}">
        <p14:creationId xmlns:p14="http://schemas.microsoft.com/office/powerpoint/2010/main" val="30569727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PRP inverted green arrow (1/2)">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F9012E2-28B6-E844-8CB5-A2A2EAD45CDF}"/>
              </a:ext>
            </a:extLst>
          </p:cNvPr>
          <p:cNvGraphicFramePr>
            <a:graphicFrameLocks noChangeAspect="1"/>
          </p:cNvGraphicFramePr>
          <p:nvPr userDrawn="1">
            <p:custDataLst>
              <p:tags r:id="rId2"/>
            </p:custDataLst>
            <p:extLst>
              <p:ext uri="{D42A27DB-BD31-4B8C-83A1-F6EECF244321}">
                <p14:modId xmlns:p14="http://schemas.microsoft.com/office/powerpoint/2010/main" val="187761858"/>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444328" name="think-cell Slide" r:id="rId4" imgW="7772400" imgH="10058400" progId="TCLayout.ActiveDocument.1">
                  <p:embed/>
                </p:oleObj>
              </mc:Choice>
              <mc:Fallback>
                <p:oleObj name="think-cell Slide" r:id="rId4" imgW="7772400" imgH="10058400" progId="TCLayout.ActiveDocument.1">
                  <p:embed/>
                  <p:pic>
                    <p:nvPicPr>
                      <p:cNvPr id="11" name="Object 10" hidden="1">
                        <a:extLst>
                          <a:ext uri="{FF2B5EF4-FFF2-40B4-BE49-F238E27FC236}">
                            <a16:creationId xmlns:a16="http://schemas.microsoft.com/office/drawing/2014/main" id="{5F9012E2-28B6-E844-8CB5-A2A2EAD45CDF}"/>
                          </a:ext>
                        </a:extLst>
                      </p:cNvPr>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AD4D6F69-9F22-524F-8C09-D4B625F7857B}"/>
              </a:ext>
            </a:extLst>
          </p:cNvPr>
          <p:cNvSpPr/>
          <p:nvPr userDrawn="1"/>
        </p:nvSpPr>
        <p:spPr>
          <a:xfrm>
            <a:off x="0" y="0"/>
            <a:ext cx="11949113" cy="6721475"/>
          </a:xfrm>
          <a:prstGeom prst="rect">
            <a:avLst/>
          </a:prstGeom>
          <a:solidFill>
            <a:srgbClr val="1767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a:p>
        </p:txBody>
      </p:sp>
      <p:sp>
        <p:nvSpPr>
          <p:cNvPr id="14" name="Pentagon 8">
            <a:extLst>
              <a:ext uri="{FF2B5EF4-FFF2-40B4-BE49-F238E27FC236}">
                <a16:creationId xmlns:a16="http://schemas.microsoft.com/office/drawing/2014/main" id="{573BE8E0-70BD-9C4A-90D9-BE772B88B383}"/>
              </a:ext>
            </a:extLst>
          </p:cNvPr>
          <p:cNvSpPr/>
          <p:nvPr userDrawn="1"/>
        </p:nvSpPr>
        <p:spPr bwMode="white">
          <a:xfrm>
            <a:off x="0" y="0"/>
            <a:ext cx="6236772" cy="6721475"/>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80"/>
              </a:spcAft>
            </a:pPr>
            <a:endParaRPr lang="en-US" sz="1176" dirty="0">
              <a:solidFill>
                <a:prstClr val="white"/>
              </a:solidFill>
              <a:latin typeface="+mn-lt"/>
              <a:sym typeface="Trebuchet MS" panose="020B0603020202020204" pitchFamily="34" charset="0"/>
            </a:endParaRPr>
          </a:p>
        </p:txBody>
      </p:sp>
      <p:sp>
        <p:nvSpPr>
          <p:cNvPr id="2" name="Title 1">
            <a:extLst>
              <a:ext uri="{FF2B5EF4-FFF2-40B4-BE49-F238E27FC236}">
                <a16:creationId xmlns:a16="http://schemas.microsoft.com/office/drawing/2014/main" id="{69ABA51E-D23F-D54C-8533-640229D4328D}"/>
              </a:ext>
            </a:extLst>
          </p:cNvPr>
          <p:cNvSpPr>
            <a:spLocks noGrp="1"/>
          </p:cNvSpPr>
          <p:nvPr>
            <p:ph type="title" hasCustomPrompt="1"/>
          </p:nvPr>
        </p:nvSpPr>
        <p:spPr>
          <a:xfrm>
            <a:off x="6621246" y="2911555"/>
            <a:ext cx="4698469" cy="965869"/>
          </a:xfrm>
          <a:prstGeom prst="rect">
            <a:avLst/>
          </a:prstGeom>
        </p:spPr>
        <p:txBody>
          <a:bodyPr>
            <a:normAutofit/>
          </a:bodyPr>
          <a:lstStyle>
            <a:lvl1pPr algn="ctr">
              <a:defRPr sz="2744">
                <a:solidFill>
                  <a:schemeClr val="bg1"/>
                </a:solidFill>
              </a:defRPr>
            </a:lvl1pPr>
          </a:lstStyle>
          <a:p>
            <a:r>
              <a:rPr lang="en-US" dirty="0"/>
              <a:t>Click to add title</a:t>
            </a:r>
          </a:p>
        </p:txBody>
      </p:sp>
      <p:sp>
        <p:nvSpPr>
          <p:cNvPr id="16" name="Text Placeholder 15">
            <a:extLst>
              <a:ext uri="{FF2B5EF4-FFF2-40B4-BE49-F238E27FC236}">
                <a16:creationId xmlns:a16="http://schemas.microsoft.com/office/drawing/2014/main" id="{337C8C27-3231-CA42-9AFB-C37B67036885}"/>
              </a:ext>
            </a:extLst>
          </p:cNvPr>
          <p:cNvSpPr>
            <a:spLocks noGrp="1"/>
          </p:cNvSpPr>
          <p:nvPr>
            <p:ph type="body" sz="quarter" idx="14" hasCustomPrompt="1"/>
          </p:nvPr>
        </p:nvSpPr>
        <p:spPr>
          <a:xfrm>
            <a:off x="634936" y="2911555"/>
            <a:ext cx="4563240" cy="965869"/>
          </a:xfrm>
        </p:spPr>
        <p:txBody>
          <a:bodyPr anchor="ctr">
            <a:normAutofit/>
          </a:bodyPr>
          <a:lstStyle>
            <a:lvl1pPr marL="0" indent="0" algn="ctr">
              <a:buNone/>
              <a:defRPr sz="2744">
                <a:solidFill>
                  <a:srgbClr val="176739"/>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9" name="Slide Number Placeholder 3">
            <a:extLst>
              <a:ext uri="{FF2B5EF4-FFF2-40B4-BE49-F238E27FC236}">
                <a16:creationId xmlns:a16="http://schemas.microsoft.com/office/drawing/2014/main" id="{15931676-0814-7F4A-86FE-7B6E53966287}"/>
              </a:ext>
            </a:extLst>
          </p:cNvPr>
          <p:cNvSpPr>
            <a:spLocks noGrp="1"/>
          </p:cNvSpPr>
          <p:nvPr>
            <p:ph type="sldNum" sz="quarter" idx="4"/>
          </p:nvPr>
        </p:nvSpPr>
        <p:spPr>
          <a:xfrm>
            <a:off x="8809038" y="6126163"/>
            <a:ext cx="2689225" cy="331787"/>
          </a:xfrm>
          <a:prstGeom prst="rect">
            <a:avLst/>
          </a:prstGeom>
        </p:spPr>
        <p:txBody>
          <a:bodyPr vert="horz" lIns="91440" tIns="45720" rIns="91440" bIns="45720" rtlCol="0" anchor="ctr"/>
          <a:lstStyle>
            <a:lvl1pPr algn="r">
              <a:defRPr sz="1200">
                <a:solidFill>
                  <a:schemeClr val="tx1">
                    <a:tint val="75000"/>
                  </a:schemeClr>
                </a:solidFill>
              </a:defRPr>
            </a:lvl1pPr>
          </a:lstStyle>
          <a:p>
            <a:fld id="{3D314921-4E57-464F-A582-181EFAE3A0A8}" type="slidenum">
              <a:rPr lang="en-US" smtClean="0"/>
              <a:t>‹#›</a:t>
            </a:fld>
            <a:endParaRPr lang="en-US"/>
          </a:p>
        </p:txBody>
      </p:sp>
    </p:spTree>
    <p:extLst>
      <p:ext uri="{BB962C8B-B14F-4D97-AF65-F5344CB8AC3E}">
        <p14:creationId xmlns:p14="http://schemas.microsoft.com/office/powerpoint/2010/main" val="94104013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PRP green arrow (2/3)">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977BE65-B36C-C041-945C-7691238F312E}"/>
              </a:ext>
            </a:extLst>
          </p:cNvPr>
          <p:cNvGraphicFramePr>
            <a:graphicFrameLocks noChangeAspect="1"/>
          </p:cNvGraphicFramePr>
          <p:nvPr userDrawn="1">
            <p:custDataLst>
              <p:tags r:id="rId2"/>
            </p:custDataLst>
            <p:extLst>
              <p:ext uri="{D42A27DB-BD31-4B8C-83A1-F6EECF244321}">
                <p14:modId xmlns:p14="http://schemas.microsoft.com/office/powerpoint/2010/main" val="298372588"/>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445352"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977BE65-B36C-C041-945C-7691238F312E}"/>
                          </a:ext>
                        </a:extLst>
                      </p:cNvPr>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4" name="Freeform 18">
            <a:extLst>
              <a:ext uri="{FF2B5EF4-FFF2-40B4-BE49-F238E27FC236}">
                <a16:creationId xmlns:a16="http://schemas.microsoft.com/office/drawing/2014/main" id="{1B1EC53C-8902-F448-81C4-4405E1DE4776}"/>
              </a:ext>
            </a:extLst>
          </p:cNvPr>
          <p:cNvSpPr/>
          <p:nvPr userDrawn="1"/>
        </p:nvSpPr>
        <p:spPr bwMode="white">
          <a:xfrm>
            <a:off x="1" y="0"/>
            <a:ext cx="8277974" cy="6721475"/>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17673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80"/>
              </a:spcAft>
            </a:pPr>
            <a:endParaRPr lang="en-US" sz="1176" dirty="0">
              <a:solidFill>
                <a:schemeClr val="bg1"/>
              </a:solidFill>
              <a:latin typeface="+mn-lt"/>
              <a:sym typeface="Trebuchet MS" panose="020B0603020202020204" pitchFamily="34" charset="0"/>
            </a:endParaRPr>
          </a:p>
        </p:txBody>
      </p:sp>
      <p:sp>
        <p:nvSpPr>
          <p:cNvPr id="2" name="Title 1">
            <a:extLst>
              <a:ext uri="{FF2B5EF4-FFF2-40B4-BE49-F238E27FC236}">
                <a16:creationId xmlns:a16="http://schemas.microsoft.com/office/drawing/2014/main" id="{FA529AB6-0D76-A541-8175-0EA9B1D44508}"/>
              </a:ext>
            </a:extLst>
          </p:cNvPr>
          <p:cNvSpPr>
            <a:spLocks noGrp="1"/>
          </p:cNvSpPr>
          <p:nvPr>
            <p:ph type="title" hasCustomPrompt="1"/>
          </p:nvPr>
        </p:nvSpPr>
        <p:spPr>
          <a:xfrm>
            <a:off x="434975" y="3176072"/>
            <a:ext cx="6588609" cy="369332"/>
          </a:xfrm>
        </p:spPr>
        <p:txBody>
          <a:bodyPr anchor="ctr"/>
          <a:lstStyle>
            <a:lvl1pPr>
              <a:defRPr>
                <a:solidFill>
                  <a:schemeClr val="bg1"/>
                </a:solidFill>
              </a:defRPr>
            </a:lvl1pPr>
          </a:lstStyle>
          <a:p>
            <a:r>
              <a:rPr lang="en-US" dirty="0"/>
              <a:t>Click to add text</a:t>
            </a:r>
          </a:p>
        </p:txBody>
      </p:sp>
      <p:sp>
        <p:nvSpPr>
          <p:cNvPr id="8" name="Text Placeholder 7">
            <a:extLst>
              <a:ext uri="{FF2B5EF4-FFF2-40B4-BE49-F238E27FC236}">
                <a16:creationId xmlns:a16="http://schemas.microsoft.com/office/drawing/2014/main" id="{F920479F-2C4E-5D49-8225-5C674AD7ADFA}"/>
              </a:ext>
            </a:extLst>
          </p:cNvPr>
          <p:cNvSpPr>
            <a:spLocks noGrp="1"/>
          </p:cNvSpPr>
          <p:nvPr>
            <p:ph type="body" sz="quarter" idx="11" hasCustomPrompt="1"/>
          </p:nvPr>
        </p:nvSpPr>
        <p:spPr>
          <a:xfrm>
            <a:off x="8868483" y="3045011"/>
            <a:ext cx="2469172" cy="631453"/>
          </a:xfrm>
        </p:spPr>
        <p:txBody>
          <a:bodyPr anchor="ctr">
            <a:normAutofit/>
          </a:bodyPr>
          <a:lstStyle>
            <a:lvl1pPr marL="0" indent="0">
              <a:buNone/>
              <a:defRPr sz="2400">
                <a:solidFill>
                  <a:srgbClr val="176739"/>
                </a:solidFill>
              </a:defRPr>
            </a:lvl1pPr>
          </a:lstStyle>
          <a:p>
            <a:pPr lvl="0"/>
            <a:r>
              <a:rPr lang="en-US" dirty="0"/>
              <a:t>Click to add text</a:t>
            </a:r>
          </a:p>
        </p:txBody>
      </p:sp>
      <p:sp>
        <p:nvSpPr>
          <p:cNvPr id="7" name="Slide Number Placeholder 3">
            <a:extLst>
              <a:ext uri="{FF2B5EF4-FFF2-40B4-BE49-F238E27FC236}">
                <a16:creationId xmlns:a16="http://schemas.microsoft.com/office/drawing/2014/main" id="{5D65BF96-F02B-CF4B-8847-7860FD90E6E2}"/>
              </a:ext>
            </a:extLst>
          </p:cNvPr>
          <p:cNvSpPr>
            <a:spLocks noGrp="1"/>
          </p:cNvSpPr>
          <p:nvPr>
            <p:ph type="sldNum" sz="quarter" idx="4"/>
          </p:nvPr>
        </p:nvSpPr>
        <p:spPr>
          <a:xfrm>
            <a:off x="8809038" y="6126163"/>
            <a:ext cx="2689225" cy="331787"/>
          </a:xfrm>
          <a:prstGeom prst="rect">
            <a:avLst/>
          </a:prstGeom>
        </p:spPr>
        <p:txBody>
          <a:bodyPr vert="horz" lIns="91440" tIns="45720" rIns="91440" bIns="45720" rtlCol="0" anchor="ctr"/>
          <a:lstStyle>
            <a:lvl1pPr algn="r">
              <a:defRPr sz="1200">
                <a:solidFill>
                  <a:schemeClr val="tx1">
                    <a:tint val="75000"/>
                  </a:schemeClr>
                </a:solidFill>
              </a:defRPr>
            </a:lvl1pPr>
          </a:lstStyle>
          <a:p>
            <a:fld id="{3D314921-4E57-464F-A582-181EFAE3A0A8}" type="slidenum">
              <a:rPr lang="en-US" smtClean="0"/>
              <a:t>‹#›</a:t>
            </a:fld>
            <a:endParaRPr lang="en-US"/>
          </a:p>
        </p:txBody>
      </p:sp>
    </p:spTree>
    <p:extLst>
      <p:ext uri="{BB962C8B-B14F-4D97-AF65-F5344CB8AC3E}">
        <p14:creationId xmlns:p14="http://schemas.microsoft.com/office/powerpoint/2010/main" val="8438499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PRP inverted green arrow (2/3)">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977BE65-B36C-C041-945C-7691238F312E}"/>
              </a:ext>
            </a:extLst>
          </p:cNvPr>
          <p:cNvGraphicFramePr>
            <a:graphicFrameLocks noChangeAspect="1"/>
          </p:cNvGraphicFramePr>
          <p:nvPr userDrawn="1">
            <p:custDataLst>
              <p:tags r:id="rId2"/>
            </p:custDataLst>
            <p:extLst>
              <p:ext uri="{D42A27DB-BD31-4B8C-83A1-F6EECF244321}">
                <p14:modId xmlns:p14="http://schemas.microsoft.com/office/powerpoint/2010/main" val="694226245"/>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446376"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977BE65-B36C-C041-945C-7691238F312E}"/>
                          </a:ext>
                        </a:extLst>
                      </p:cNvPr>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7E6CAF5-4282-5C4A-ACE3-C16E673C0D07}"/>
              </a:ext>
            </a:extLst>
          </p:cNvPr>
          <p:cNvSpPr/>
          <p:nvPr userDrawn="1"/>
        </p:nvSpPr>
        <p:spPr>
          <a:xfrm>
            <a:off x="0" y="0"/>
            <a:ext cx="11949113" cy="6721475"/>
          </a:xfrm>
          <a:prstGeom prst="rect">
            <a:avLst/>
          </a:prstGeom>
          <a:solidFill>
            <a:srgbClr val="1767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a:p>
        </p:txBody>
      </p:sp>
      <p:sp>
        <p:nvSpPr>
          <p:cNvPr id="4" name="Freeform 18">
            <a:extLst>
              <a:ext uri="{FF2B5EF4-FFF2-40B4-BE49-F238E27FC236}">
                <a16:creationId xmlns:a16="http://schemas.microsoft.com/office/drawing/2014/main" id="{1B1EC53C-8902-F448-81C4-4405E1DE4776}"/>
              </a:ext>
            </a:extLst>
          </p:cNvPr>
          <p:cNvSpPr/>
          <p:nvPr userDrawn="1"/>
        </p:nvSpPr>
        <p:spPr bwMode="white">
          <a:xfrm>
            <a:off x="1" y="1"/>
            <a:ext cx="8277974" cy="6736665"/>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80"/>
              </a:spcAft>
            </a:pPr>
            <a:endParaRPr lang="en-US" sz="1176" dirty="0">
              <a:solidFill>
                <a:schemeClr val="bg1"/>
              </a:solidFill>
              <a:latin typeface="+mn-lt"/>
              <a:sym typeface="Trebuchet MS" panose="020B0603020202020204" pitchFamily="34" charset="0"/>
            </a:endParaRPr>
          </a:p>
        </p:txBody>
      </p:sp>
      <p:sp>
        <p:nvSpPr>
          <p:cNvPr id="2" name="Title 1">
            <a:extLst>
              <a:ext uri="{FF2B5EF4-FFF2-40B4-BE49-F238E27FC236}">
                <a16:creationId xmlns:a16="http://schemas.microsoft.com/office/drawing/2014/main" id="{FA529AB6-0D76-A541-8175-0EA9B1D44508}"/>
              </a:ext>
            </a:extLst>
          </p:cNvPr>
          <p:cNvSpPr>
            <a:spLocks noGrp="1"/>
          </p:cNvSpPr>
          <p:nvPr>
            <p:ph type="title" hasCustomPrompt="1"/>
          </p:nvPr>
        </p:nvSpPr>
        <p:spPr>
          <a:xfrm>
            <a:off x="434975" y="3183667"/>
            <a:ext cx="6588609" cy="369332"/>
          </a:xfrm>
        </p:spPr>
        <p:txBody>
          <a:bodyPr/>
          <a:lstStyle>
            <a:lvl1pPr>
              <a:defRPr>
                <a:solidFill>
                  <a:srgbClr val="176739"/>
                </a:solidFill>
              </a:defRPr>
            </a:lvl1pPr>
          </a:lstStyle>
          <a:p>
            <a:r>
              <a:rPr lang="en-US" dirty="0"/>
              <a:t>Click to add text</a:t>
            </a:r>
          </a:p>
        </p:txBody>
      </p:sp>
      <p:sp>
        <p:nvSpPr>
          <p:cNvPr id="8" name="Slide Number Placeholder 3">
            <a:extLst>
              <a:ext uri="{FF2B5EF4-FFF2-40B4-BE49-F238E27FC236}">
                <a16:creationId xmlns:a16="http://schemas.microsoft.com/office/drawing/2014/main" id="{905D9DAD-D37C-E048-9931-EE2D7354D854}"/>
              </a:ext>
            </a:extLst>
          </p:cNvPr>
          <p:cNvSpPr>
            <a:spLocks noGrp="1"/>
          </p:cNvSpPr>
          <p:nvPr>
            <p:ph type="sldNum" sz="quarter" idx="4"/>
          </p:nvPr>
        </p:nvSpPr>
        <p:spPr>
          <a:xfrm>
            <a:off x="8809038" y="6126163"/>
            <a:ext cx="2689225" cy="331787"/>
          </a:xfrm>
          <a:prstGeom prst="rect">
            <a:avLst/>
          </a:prstGeom>
        </p:spPr>
        <p:txBody>
          <a:bodyPr vert="horz" lIns="91440" tIns="45720" rIns="91440" bIns="45720" rtlCol="0" anchor="ctr"/>
          <a:lstStyle>
            <a:lvl1pPr algn="r">
              <a:defRPr sz="1200">
                <a:solidFill>
                  <a:schemeClr val="tx1">
                    <a:tint val="75000"/>
                  </a:schemeClr>
                </a:solidFill>
              </a:defRPr>
            </a:lvl1pPr>
          </a:lstStyle>
          <a:p>
            <a:fld id="{3D314921-4E57-464F-A582-181EFAE3A0A8}" type="slidenum">
              <a:rPr lang="en-US" smtClean="0"/>
              <a:t>‹#›</a:t>
            </a:fld>
            <a:endParaRPr lang="en-US"/>
          </a:p>
        </p:txBody>
      </p:sp>
    </p:spTree>
    <p:extLst>
      <p:ext uri="{BB962C8B-B14F-4D97-AF65-F5344CB8AC3E}">
        <p14:creationId xmlns:p14="http://schemas.microsoft.com/office/powerpoint/2010/main" val="34907109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een 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EFF5C9-0D33-734A-B17A-A49A5BE2B8E4}"/>
              </a:ext>
            </a:extLst>
          </p:cNvPr>
          <p:cNvGraphicFramePr>
            <a:graphicFrameLocks noChangeAspect="1"/>
          </p:cNvGraphicFramePr>
          <p:nvPr userDrawn="1">
            <p:custDataLst>
              <p:tags r:id="rId2"/>
            </p:custDataLst>
            <p:extLst>
              <p:ext uri="{D42A27DB-BD31-4B8C-83A1-F6EECF244321}">
                <p14:modId xmlns:p14="http://schemas.microsoft.com/office/powerpoint/2010/main" val="1311245388"/>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447400"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CEFF5C9-0D33-734A-B17A-A49A5BE2B8E4}"/>
                          </a:ext>
                        </a:extLst>
                      </p:cNvPr>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4" name="Freeform 3">
            <a:extLst>
              <a:ext uri="{FF2B5EF4-FFF2-40B4-BE49-F238E27FC236}">
                <a16:creationId xmlns:a16="http://schemas.microsoft.com/office/drawing/2014/main" id="{1CA50BC5-D8EF-C842-B932-741212CDDE79}"/>
              </a:ext>
            </a:extLst>
          </p:cNvPr>
          <p:cNvSpPr>
            <a:spLocks/>
          </p:cNvSpPr>
          <p:nvPr userDrawn="1"/>
        </p:nvSpPr>
        <p:spPr bwMode="white">
          <a:xfrm flipH="1">
            <a:off x="-26576" y="0"/>
            <a:ext cx="11975689" cy="5750532"/>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76739"/>
          </a:solidFill>
          <a:ln>
            <a:noFill/>
          </a:ln>
          <a:effectLst/>
        </p:spPr>
        <p:txBody>
          <a:bodyPr vert="horz" wrap="square" lIns="89618" tIns="44809" rIns="89618" bIns="44809" numCol="1" anchor="t" anchorCtr="0" compatLnSpc="1">
            <a:prstTxWarp prst="textNoShape">
              <a:avLst/>
            </a:prstTxWarp>
            <a:noAutofit/>
          </a:bodyPr>
          <a:lstStyle/>
          <a:p>
            <a:endParaRPr lang="en-US" sz="1568" dirty="0">
              <a:solidFill>
                <a:schemeClr val="bg1"/>
              </a:solidFill>
              <a:latin typeface="+mn-lt"/>
              <a:sym typeface="Trebuchet MS" panose="020B0603020202020204" pitchFamily="34" charset="0"/>
            </a:endParaRPr>
          </a:p>
        </p:txBody>
      </p:sp>
      <p:sp>
        <p:nvSpPr>
          <p:cNvPr id="2" name="Title 1">
            <a:extLst>
              <a:ext uri="{FF2B5EF4-FFF2-40B4-BE49-F238E27FC236}">
                <a16:creationId xmlns:a16="http://schemas.microsoft.com/office/drawing/2014/main" id="{5FCCB43D-5CB9-B44B-A405-1B6C8B8B09AD}"/>
              </a:ext>
            </a:extLst>
          </p:cNvPr>
          <p:cNvSpPr>
            <a:spLocks noGrp="1"/>
          </p:cNvSpPr>
          <p:nvPr>
            <p:ph type="title" hasCustomPrompt="1"/>
          </p:nvPr>
        </p:nvSpPr>
        <p:spPr>
          <a:xfrm>
            <a:off x="794926" y="2465579"/>
            <a:ext cx="10306110" cy="369332"/>
          </a:xfrm>
        </p:spPr>
        <p:txBody>
          <a:bodyPr/>
          <a:lstStyle>
            <a:lvl1pPr algn="ctr">
              <a:defRPr>
                <a:solidFill>
                  <a:schemeClr val="bg1"/>
                </a:solidFill>
              </a:defRPr>
            </a:lvl1pPr>
          </a:lstStyle>
          <a:p>
            <a:r>
              <a:rPr lang="en-US" dirty="0"/>
              <a:t>Click to add quote</a:t>
            </a:r>
          </a:p>
        </p:txBody>
      </p:sp>
      <p:sp>
        <p:nvSpPr>
          <p:cNvPr id="7" name="Slide Number Placeholder 3">
            <a:extLst>
              <a:ext uri="{FF2B5EF4-FFF2-40B4-BE49-F238E27FC236}">
                <a16:creationId xmlns:a16="http://schemas.microsoft.com/office/drawing/2014/main" id="{AB263E48-077C-9346-A27B-4228DD9A97E3}"/>
              </a:ext>
            </a:extLst>
          </p:cNvPr>
          <p:cNvSpPr>
            <a:spLocks noGrp="1"/>
          </p:cNvSpPr>
          <p:nvPr>
            <p:ph type="sldNum" sz="quarter" idx="4"/>
          </p:nvPr>
        </p:nvSpPr>
        <p:spPr>
          <a:xfrm>
            <a:off x="8809038" y="6126163"/>
            <a:ext cx="2689225" cy="331787"/>
          </a:xfrm>
          <a:prstGeom prst="rect">
            <a:avLst/>
          </a:prstGeom>
        </p:spPr>
        <p:txBody>
          <a:bodyPr vert="horz" lIns="91440" tIns="45720" rIns="91440" bIns="45720" rtlCol="0" anchor="ctr"/>
          <a:lstStyle>
            <a:lvl1pPr algn="r">
              <a:defRPr sz="1200">
                <a:solidFill>
                  <a:schemeClr val="tx1">
                    <a:tint val="75000"/>
                  </a:schemeClr>
                </a:solidFill>
              </a:defRPr>
            </a:lvl1pPr>
          </a:lstStyle>
          <a:p>
            <a:fld id="{3D314921-4E57-464F-A582-181EFAE3A0A8}" type="slidenum">
              <a:rPr lang="en-US" smtClean="0"/>
              <a:t>‹#›</a:t>
            </a:fld>
            <a:endParaRPr lang="en-US"/>
          </a:p>
        </p:txBody>
      </p:sp>
    </p:spTree>
    <p:extLst>
      <p:ext uri="{BB962C8B-B14F-4D97-AF65-F5344CB8AC3E}">
        <p14:creationId xmlns:p14="http://schemas.microsoft.com/office/powerpoint/2010/main" val="22931307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verted green 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EFF5C9-0D33-734A-B17A-A49A5BE2B8E4}"/>
              </a:ext>
            </a:extLst>
          </p:cNvPr>
          <p:cNvGraphicFramePr>
            <a:graphicFrameLocks noChangeAspect="1"/>
          </p:cNvGraphicFramePr>
          <p:nvPr userDrawn="1">
            <p:custDataLst>
              <p:tags r:id="rId2"/>
            </p:custDataLst>
            <p:extLst>
              <p:ext uri="{D42A27DB-BD31-4B8C-83A1-F6EECF244321}">
                <p14:modId xmlns:p14="http://schemas.microsoft.com/office/powerpoint/2010/main" val="2431906870"/>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448424"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CEFF5C9-0D33-734A-B17A-A49A5BE2B8E4}"/>
                          </a:ext>
                        </a:extLst>
                      </p:cNvPr>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EB227865-959C-A948-8561-9B76E2416051}"/>
              </a:ext>
            </a:extLst>
          </p:cNvPr>
          <p:cNvSpPr/>
          <p:nvPr userDrawn="1"/>
        </p:nvSpPr>
        <p:spPr>
          <a:xfrm>
            <a:off x="-26576" y="1"/>
            <a:ext cx="11975689" cy="6855282"/>
          </a:xfrm>
          <a:prstGeom prst="rect">
            <a:avLst/>
          </a:prstGeom>
          <a:solidFill>
            <a:srgbClr val="1767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a:p>
        </p:txBody>
      </p:sp>
      <p:sp>
        <p:nvSpPr>
          <p:cNvPr id="4" name="Freeform 3">
            <a:extLst>
              <a:ext uri="{FF2B5EF4-FFF2-40B4-BE49-F238E27FC236}">
                <a16:creationId xmlns:a16="http://schemas.microsoft.com/office/drawing/2014/main" id="{1CA50BC5-D8EF-C842-B932-741212CDDE79}"/>
              </a:ext>
            </a:extLst>
          </p:cNvPr>
          <p:cNvSpPr>
            <a:spLocks/>
          </p:cNvSpPr>
          <p:nvPr userDrawn="1"/>
        </p:nvSpPr>
        <p:spPr bwMode="white">
          <a:xfrm flipH="1">
            <a:off x="-26576" y="-93961"/>
            <a:ext cx="11975689" cy="5750532"/>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bg1"/>
          </a:solidFill>
          <a:ln>
            <a:noFill/>
          </a:ln>
          <a:effectLst/>
        </p:spPr>
        <p:txBody>
          <a:bodyPr vert="horz" wrap="square" lIns="89618" tIns="44809" rIns="89618" bIns="44809" numCol="1" anchor="t" anchorCtr="0" compatLnSpc="1">
            <a:prstTxWarp prst="textNoShape">
              <a:avLst/>
            </a:prstTxWarp>
            <a:noAutofit/>
          </a:bodyPr>
          <a:lstStyle/>
          <a:p>
            <a:endParaRPr lang="en-US" sz="1568" dirty="0">
              <a:solidFill>
                <a:schemeClr val="bg1"/>
              </a:solidFill>
              <a:latin typeface="+mn-lt"/>
              <a:sym typeface="Trebuchet MS" panose="020B0603020202020204" pitchFamily="34" charset="0"/>
            </a:endParaRPr>
          </a:p>
        </p:txBody>
      </p:sp>
      <p:sp>
        <p:nvSpPr>
          <p:cNvPr id="2" name="Title 1">
            <a:extLst>
              <a:ext uri="{FF2B5EF4-FFF2-40B4-BE49-F238E27FC236}">
                <a16:creationId xmlns:a16="http://schemas.microsoft.com/office/drawing/2014/main" id="{5FCCB43D-5CB9-B44B-A405-1B6C8B8B09AD}"/>
              </a:ext>
            </a:extLst>
          </p:cNvPr>
          <p:cNvSpPr>
            <a:spLocks noGrp="1"/>
          </p:cNvSpPr>
          <p:nvPr>
            <p:ph type="title" hasCustomPrompt="1"/>
          </p:nvPr>
        </p:nvSpPr>
        <p:spPr>
          <a:xfrm>
            <a:off x="794926" y="2465579"/>
            <a:ext cx="10306110" cy="369332"/>
          </a:xfrm>
        </p:spPr>
        <p:txBody>
          <a:bodyPr/>
          <a:lstStyle>
            <a:lvl1pPr algn="ctr">
              <a:defRPr>
                <a:solidFill>
                  <a:srgbClr val="176739"/>
                </a:solidFill>
              </a:defRPr>
            </a:lvl1pPr>
          </a:lstStyle>
          <a:p>
            <a:r>
              <a:rPr lang="en-US" dirty="0"/>
              <a:t>Click to add quote</a:t>
            </a:r>
          </a:p>
        </p:txBody>
      </p:sp>
      <p:sp>
        <p:nvSpPr>
          <p:cNvPr id="8" name="Slide Number Placeholder 3">
            <a:extLst>
              <a:ext uri="{FF2B5EF4-FFF2-40B4-BE49-F238E27FC236}">
                <a16:creationId xmlns:a16="http://schemas.microsoft.com/office/drawing/2014/main" id="{6F44270C-F260-6446-BC3D-487AACF0CE45}"/>
              </a:ext>
            </a:extLst>
          </p:cNvPr>
          <p:cNvSpPr>
            <a:spLocks noGrp="1"/>
          </p:cNvSpPr>
          <p:nvPr>
            <p:ph type="sldNum" sz="quarter" idx="4"/>
          </p:nvPr>
        </p:nvSpPr>
        <p:spPr>
          <a:xfrm>
            <a:off x="8809038" y="6126163"/>
            <a:ext cx="2689225" cy="331787"/>
          </a:xfrm>
          <a:prstGeom prst="rect">
            <a:avLst/>
          </a:prstGeom>
        </p:spPr>
        <p:txBody>
          <a:bodyPr vert="horz" lIns="91440" tIns="45720" rIns="91440" bIns="45720" rtlCol="0" anchor="ctr"/>
          <a:lstStyle>
            <a:lvl1pPr algn="r">
              <a:defRPr sz="1200">
                <a:solidFill>
                  <a:schemeClr val="tx1">
                    <a:tint val="75000"/>
                  </a:schemeClr>
                </a:solidFill>
              </a:defRPr>
            </a:lvl1pPr>
          </a:lstStyle>
          <a:p>
            <a:fld id="{3D314921-4E57-464F-A582-181EFAE3A0A8}" type="slidenum">
              <a:rPr lang="en-US" smtClean="0"/>
              <a:t>‹#›</a:t>
            </a:fld>
            <a:endParaRPr lang="en-US"/>
          </a:p>
        </p:txBody>
      </p:sp>
    </p:spTree>
    <p:extLst>
      <p:ext uri="{BB962C8B-B14F-4D97-AF65-F5344CB8AC3E}">
        <p14:creationId xmlns:p14="http://schemas.microsoft.com/office/powerpoint/2010/main" val="24168284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PPRP Green End P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5149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D27C6C-F961-4DDE-91AE-F7106FF284AE}"/>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5" name="doc id" hidden="1"/>
          <p:cNvSpPr txBox="1">
            <a:spLocks noChangeArrowheads="1"/>
          </p:cNvSpPr>
          <p:nvPr/>
        </p:nvSpPr>
        <p:spPr bwMode="auto">
          <a:xfrm>
            <a:off x="11259050"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1067" baseline="0" noProof="0" dirty="0">
              <a:solidFill>
                <a:schemeClr val="bg1"/>
              </a:solidFill>
              <a:latin typeface="+mn-lt"/>
            </a:endParaRPr>
          </a:p>
        </p:txBody>
      </p:sp>
      <p:sp>
        <p:nvSpPr>
          <p:cNvPr id="57" name="Document type" hidden="1"/>
          <p:cNvSpPr txBox="1">
            <a:spLocks noChangeArrowheads="1"/>
          </p:cNvSpPr>
          <p:nvPr/>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bg1"/>
                </a:solidFill>
                <a:latin typeface="+mn-lt"/>
              </a:rPr>
              <a:t>Document type | Date</a:t>
            </a:r>
          </a:p>
        </p:txBody>
      </p:sp>
      <p:sp>
        <p:nvSpPr>
          <p:cNvPr id="26" name="Disclaimer-English (United States)" hidden="1"/>
          <p:cNvSpPr>
            <a:spLocks noChangeArrowheads="1"/>
          </p:cNvSpPr>
          <p:nvPr/>
        </p:nvSpPr>
        <p:spPr bwMode="black">
          <a:xfrm>
            <a:off x="2781424" y="6254081"/>
            <a:ext cx="5120516"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ZA" sz="800" baseline="0" dirty="0">
                <a:solidFill>
                  <a:schemeClr val="bg1"/>
                </a:solidFill>
                <a:latin typeface="+mn-lt"/>
              </a:rPr>
              <a:t>CONFIDENTIAL AND PROPRIETARY</a:t>
            </a:r>
          </a:p>
          <a:p>
            <a:pPr defTabSz="1073204" eaLnBrk="0" hangingPunct="0"/>
            <a:r>
              <a:rPr lang="en-ZA" sz="800" baseline="0" dirty="0">
                <a:solidFill>
                  <a:schemeClr val="bg1"/>
                </a:solidFill>
                <a:latin typeface="+mn-lt"/>
              </a:rPr>
              <a:t>Any use of this material without specific permission is strictly prohibited</a:t>
            </a:r>
            <a:endParaRPr lang="en-US" sz="800" baseline="0" dirty="0">
              <a:solidFill>
                <a:schemeClr val="bg1"/>
              </a:solidFill>
              <a:latin typeface="+mn-lt"/>
            </a:endParaRPr>
          </a:p>
        </p:txBody>
      </p:sp>
      <p:sp>
        <p:nvSpPr>
          <p:cNvPr id="7" name="Working Draft Text" hidden="1">
            <a:extLst>
              <a:ext uri="{FF2B5EF4-FFF2-40B4-BE49-F238E27FC236}">
                <a16:creationId xmlns:a16="http://schemas.microsoft.com/office/drawing/2014/main" id="{8B36C022-4CD7-4AE3-9EB9-C2A7C0991460}"/>
              </a:ext>
            </a:extLst>
          </p:cNvPr>
          <p:cNvSpPr txBox="1"/>
          <p:nvPr/>
        </p:nvSpPr>
        <p:spPr>
          <a:xfrm>
            <a:off x="8064500" y="6223000"/>
            <a:ext cx="1066318" cy="215444"/>
          </a:xfrm>
          <a:prstGeom prst="rect">
            <a:avLst/>
          </a:prstGeom>
          <a:noFill/>
        </p:spPr>
        <p:txBody>
          <a:bodyPr vert="horz" wrap="none" rtlCol="0">
            <a:spAutoFit/>
          </a:bodyPr>
          <a:lstStyle/>
          <a:p>
            <a:r>
              <a:rPr lang="en-ZA" sz="800" b="1" dirty="0">
                <a:solidFill>
                  <a:srgbClr val="FFFFFF"/>
                </a:solidFill>
              </a:rPr>
              <a:t>WORKING DRAFT</a:t>
            </a:r>
          </a:p>
        </p:txBody>
      </p:sp>
      <p:sp>
        <p:nvSpPr>
          <p:cNvPr id="8" name="Working Draft" hidden="1">
            <a:extLst>
              <a:ext uri="{FF2B5EF4-FFF2-40B4-BE49-F238E27FC236}">
                <a16:creationId xmlns:a16="http://schemas.microsoft.com/office/drawing/2014/main" id="{1499DE9C-1052-42CC-A648-F322B77CCA05}"/>
              </a:ext>
            </a:extLst>
          </p:cNvPr>
          <p:cNvSpPr txBox="1"/>
          <p:nvPr/>
        </p:nvSpPr>
        <p:spPr>
          <a:xfrm>
            <a:off x="8064500" y="6350000"/>
            <a:ext cx="3214341" cy="215444"/>
          </a:xfrm>
          <a:prstGeom prst="rect">
            <a:avLst/>
          </a:prstGeom>
          <a:noFill/>
        </p:spPr>
        <p:txBody>
          <a:bodyPr vert="horz" wrap="none" rtlCol="0">
            <a:spAutoFit/>
          </a:bodyPr>
          <a:lstStyle/>
          <a:p>
            <a:r>
              <a:rPr lang="en-US" sz="800">
                <a:solidFill>
                  <a:srgbClr val="FFFFFF"/>
                </a:solidFill>
              </a:rPr>
              <a:t>Last Modified 2020/03/08 22:31 W. Central Africa Standard Time</a:t>
            </a:r>
            <a:endParaRPr lang="en-ZA" sz="800" dirty="0">
              <a:solidFill>
                <a:srgbClr val="FFFFFF"/>
              </a:solidFill>
            </a:endParaRPr>
          </a:p>
        </p:txBody>
      </p:sp>
      <p:sp>
        <p:nvSpPr>
          <p:cNvPr id="9" name="Printed" hidden="1">
            <a:extLst>
              <a:ext uri="{FF2B5EF4-FFF2-40B4-BE49-F238E27FC236}">
                <a16:creationId xmlns:a16="http://schemas.microsoft.com/office/drawing/2014/main" id="{9598A30F-8710-45D8-9018-9E04EB86EFEC}"/>
              </a:ext>
            </a:extLst>
          </p:cNvPr>
          <p:cNvSpPr txBox="1"/>
          <p:nvPr/>
        </p:nvSpPr>
        <p:spPr>
          <a:xfrm>
            <a:off x="8064500" y="6477000"/>
            <a:ext cx="511679" cy="215444"/>
          </a:xfrm>
          <a:prstGeom prst="rect">
            <a:avLst/>
          </a:prstGeom>
          <a:noFill/>
        </p:spPr>
        <p:txBody>
          <a:bodyPr vert="horz" wrap="none" rtlCol="0">
            <a:spAutoFit/>
          </a:bodyPr>
          <a:lstStyle/>
          <a:p>
            <a:r>
              <a:rPr lang="en-ZA" sz="800" dirty="0">
                <a:solidFill>
                  <a:srgbClr val="FFFFFF"/>
                </a:solidFill>
              </a:rPr>
              <a:t>Printed</a:t>
            </a:r>
          </a:p>
        </p:txBody>
      </p:sp>
      <p:sp>
        <p:nvSpPr>
          <p:cNvPr id="16" name="Freeform: Shape 15">
            <a:extLst>
              <a:ext uri="{FF2B5EF4-FFF2-40B4-BE49-F238E27FC236}">
                <a16:creationId xmlns:a16="http://schemas.microsoft.com/office/drawing/2014/main" id="{2D408A2C-9D03-49DA-BC5B-E92FDF580CD0}"/>
              </a:ext>
            </a:extLst>
          </p:cNvPr>
          <p:cNvSpPr/>
          <p:nvPr/>
        </p:nvSpPr>
        <p:spPr>
          <a:xfrm flipH="1">
            <a:off x="-1" y="-12140"/>
            <a:ext cx="11949113" cy="6745790"/>
          </a:xfrm>
          <a:custGeom>
            <a:avLst/>
            <a:gdLst>
              <a:gd name="connsiteX0" fmla="*/ 114300 w 6057900"/>
              <a:gd name="connsiteY0" fmla="*/ 0 h 7442200"/>
              <a:gd name="connsiteX1" fmla="*/ 6057900 w 6057900"/>
              <a:gd name="connsiteY1" fmla="*/ 7442200 h 7442200"/>
              <a:gd name="connsiteX2" fmla="*/ 0 w 6057900"/>
              <a:gd name="connsiteY2" fmla="*/ 7442200 h 7442200"/>
              <a:gd name="connsiteX3" fmla="*/ 114300 w 6057900"/>
              <a:gd name="connsiteY3" fmla="*/ 0 h 7442200"/>
              <a:gd name="connsiteX0" fmla="*/ 14509 w 6057900"/>
              <a:gd name="connsiteY0" fmla="*/ 0 h 7442200"/>
              <a:gd name="connsiteX1" fmla="*/ 6057900 w 6057900"/>
              <a:gd name="connsiteY1" fmla="*/ 7442200 h 7442200"/>
              <a:gd name="connsiteX2" fmla="*/ 0 w 6057900"/>
              <a:gd name="connsiteY2" fmla="*/ 7442200 h 7442200"/>
              <a:gd name="connsiteX3" fmla="*/ 14509 w 6057900"/>
              <a:gd name="connsiteY3" fmla="*/ 0 h 7442200"/>
              <a:gd name="connsiteX0" fmla="*/ 1113 w 6062114"/>
              <a:gd name="connsiteY0" fmla="*/ 0 h 7476655"/>
              <a:gd name="connsiteX1" fmla="*/ 6062114 w 6062114"/>
              <a:gd name="connsiteY1" fmla="*/ 7476655 h 7476655"/>
              <a:gd name="connsiteX2" fmla="*/ 4214 w 6062114"/>
              <a:gd name="connsiteY2" fmla="*/ 7476655 h 7476655"/>
              <a:gd name="connsiteX3" fmla="*/ 1113 w 6062114"/>
              <a:gd name="connsiteY3" fmla="*/ 0 h 7476655"/>
              <a:gd name="connsiteX0" fmla="*/ 1113 w 6062114"/>
              <a:gd name="connsiteY0" fmla="*/ 0 h 7476655"/>
              <a:gd name="connsiteX1" fmla="*/ 3228285 w 6062114"/>
              <a:gd name="connsiteY1" fmla="*/ 4069980 h 7476655"/>
              <a:gd name="connsiteX2" fmla="*/ 6062114 w 6062114"/>
              <a:gd name="connsiteY2" fmla="*/ 7476655 h 7476655"/>
              <a:gd name="connsiteX3" fmla="*/ 4214 w 6062114"/>
              <a:gd name="connsiteY3" fmla="*/ 7476655 h 7476655"/>
              <a:gd name="connsiteX4" fmla="*/ 1113 w 6062114"/>
              <a:gd name="connsiteY4" fmla="*/ 0 h 7476655"/>
              <a:gd name="connsiteX0" fmla="*/ 1113 w 21638234"/>
              <a:gd name="connsiteY0" fmla="*/ 0 h 7476655"/>
              <a:gd name="connsiteX1" fmla="*/ 21638234 w 21638234"/>
              <a:gd name="connsiteY1" fmla="*/ 32302 h 7476655"/>
              <a:gd name="connsiteX2" fmla="*/ 6062114 w 21638234"/>
              <a:gd name="connsiteY2" fmla="*/ 7476655 h 7476655"/>
              <a:gd name="connsiteX3" fmla="*/ 4214 w 21638234"/>
              <a:gd name="connsiteY3" fmla="*/ 7476655 h 7476655"/>
              <a:gd name="connsiteX4" fmla="*/ 1113 w 21638234"/>
              <a:gd name="connsiteY4" fmla="*/ 0 h 7476655"/>
              <a:gd name="connsiteX0" fmla="*/ 1113 w 21492815"/>
              <a:gd name="connsiteY0" fmla="*/ 0 h 7476655"/>
              <a:gd name="connsiteX1" fmla="*/ 21492815 w 21492815"/>
              <a:gd name="connsiteY1" fmla="*/ 64604 h 7476655"/>
              <a:gd name="connsiteX2" fmla="*/ 6062114 w 21492815"/>
              <a:gd name="connsiteY2" fmla="*/ 7476655 h 7476655"/>
              <a:gd name="connsiteX3" fmla="*/ 4214 w 21492815"/>
              <a:gd name="connsiteY3" fmla="*/ 7476655 h 7476655"/>
              <a:gd name="connsiteX4" fmla="*/ 1113 w 21492815"/>
              <a:gd name="connsiteY4" fmla="*/ 0 h 7476655"/>
              <a:gd name="connsiteX0" fmla="*/ 1113 w 21492815"/>
              <a:gd name="connsiteY0" fmla="*/ 0 h 7476655"/>
              <a:gd name="connsiteX1" fmla="*/ 21492815 w 21492815"/>
              <a:gd name="connsiteY1" fmla="*/ 32302 h 7476655"/>
              <a:gd name="connsiteX2" fmla="*/ 6062114 w 21492815"/>
              <a:gd name="connsiteY2" fmla="*/ 7476655 h 7476655"/>
              <a:gd name="connsiteX3" fmla="*/ 4214 w 21492815"/>
              <a:gd name="connsiteY3" fmla="*/ 7476655 h 7476655"/>
              <a:gd name="connsiteX4" fmla="*/ 1113 w 21492815"/>
              <a:gd name="connsiteY4" fmla="*/ 0 h 7476655"/>
              <a:gd name="connsiteX0" fmla="*/ 84153 w 21575855"/>
              <a:gd name="connsiteY0" fmla="*/ 0 h 17910017"/>
              <a:gd name="connsiteX1" fmla="*/ 21575855 w 21575855"/>
              <a:gd name="connsiteY1" fmla="*/ 32302 h 17910017"/>
              <a:gd name="connsiteX2" fmla="*/ 6145154 w 21575855"/>
              <a:gd name="connsiteY2" fmla="*/ 7476655 h 17910017"/>
              <a:gd name="connsiteX3" fmla="*/ 0 w 21575855"/>
              <a:gd name="connsiteY3" fmla="*/ 17910017 h 17910017"/>
              <a:gd name="connsiteX4" fmla="*/ 84153 w 21575855"/>
              <a:gd name="connsiteY4" fmla="*/ 0 h 17910017"/>
              <a:gd name="connsiteX0" fmla="*/ 84153 w 21588569"/>
              <a:gd name="connsiteY0" fmla="*/ 0 h 17910017"/>
              <a:gd name="connsiteX1" fmla="*/ 21575855 w 21588569"/>
              <a:gd name="connsiteY1" fmla="*/ 32302 h 17910017"/>
              <a:gd name="connsiteX2" fmla="*/ 21588569 w 21588569"/>
              <a:gd name="connsiteY2" fmla="*/ 17910017 h 17910017"/>
              <a:gd name="connsiteX3" fmla="*/ 0 w 21588569"/>
              <a:gd name="connsiteY3" fmla="*/ 17910017 h 17910017"/>
              <a:gd name="connsiteX4" fmla="*/ 84153 w 21588569"/>
              <a:gd name="connsiteY4" fmla="*/ 0 h 17910017"/>
              <a:gd name="connsiteX0" fmla="*/ 84153 w 21675819"/>
              <a:gd name="connsiteY0" fmla="*/ 0 h 17910017"/>
              <a:gd name="connsiteX1" fmla="*/ 21575855 w 21675819"/>
              <a:gd name="connsiteY1" fmla="*/ 32302 h 17910017"/>
              <a:gd name="connsiteX2" fmla="*/ 21675819 w 21675819"/>
              <a:gd name="connsiteY2" fmla="*/ 17910017 h 17910017"/>
              <a:gd name="connsiteX3" fmla="*/ 0 w 21675819"/>
              <a:gd name="connsiteY3" fmla="*/ 17910017 h 17910017"/>
              <a:gd name="connsiteX4" fmla="*/ 84153 w 21675819"/>
              <a:gd name="connsiteY4" fmla="*/ 0 h 17910017"/>
              <a:gd name="connsiteX0" fmla="*/ 84153 w 21675819"/>
              <a:gd name="connsiteY0" fmla="*/ 0 h 17910017"/>
              <a:gd name="connsiteX1" fmla="*/ 21575855 w 21675819"/>
              <a:gd name="connsiteY1" fmla="*/ 32302 h 17910017"/>
              <a:gd name="connsiteX2" fmla="*/ 21675819 w 21675819"/>
              <a:gd name="connsiteY2" fmla="*/ 17910017 h 17910017"/>
              <a:gd name="connsiteX3" fmla="*/ 0 w 21675819"/>
              <a:gd name="connsiteY3" fmla="*/ 17910017 h 17910017"/>
              <a:gd name="connsiteX4" fmla="*/ 84153 w 21675819"/>
              <a:gd name="connsiteY4" fmla="*/ 0 h 17910017"/>
              <a:gd name="connsiteX0" fmla="*/ 84153 w 21617651"/>
              <a:gd name="connsiteY0" fmla="*/ 0 h 17910017"/>
              <a:gd name="connsiteX1" fmla="*/ 21575855 w 21617651"/>
              <a:gd name="connsiteY1" fmla="*/ 32302 h 17910017"/>
              <a:gd name="connsiteX2" fmla="*/ 21617651 w 21617651"/>
              <a:gd name="connsiteY2" fmla="*/ 17845415 h 17910017"/>
              <a:gd name="connsiteX3" fmla="*/ 0 w 21617651"/>
              <a:gd name="connsiteY3" fmla="*/ 17910017 h 17910017"/>
              <a:gd name="connsiteX4" fmla="*/ 84153 w 21617651"/>
              <a:gd name="connsiteY4" fmla="*/ 0 h 17910017"/>
              <a:gd name="connsiteX0" fmla="*/ 84153 w 21646735"/>
              <a:gd name="connsiteY0" fmla="*/ 0 h 17942319"/>
              <a:gd name="connsiteX1" fmla="*/ 21575855 w 21646735"/>
              <a:gd name="connsiteY1" fmla="*/ 32302 h 17942319"/>
              <a:gd name="connsiteX2" fmla="*/ 21646735 w 21646735"/>
              <a:gd name="connsiteY2" fmla="*/ 17942319 h 17942319"/>
              <a:gd name="connsiteX3" fmla="*/ 0 w 21646735"/>
              <a:gd name="connsiteY3" fmla="*/ 17910017 h 17942319"/>
              <a:gd name="connsiteX4" fmla="*/ 84153 w 21646735"/>
              <a:gd name="connsiteY4" fmla="*/ 0 h 17942319"/>
              <a:gd name="connsiteX0" fmla="*/ 84153 w 21646735"/>
              <a:gd name="connsiteY0" fmla="*/ 0 h 17942322"/>
              <a:gd name="connsiteX1" fmla="*/ 21575855 w 21646735"/>
              <a:gd name="connsiteY1" fmla="*/ 32302 h 17942322"/>
              <a:gd name="connsiteX2" fmla="*/ 21646735 w 21646735"/>
              <a:gd name="connsiteY2" fmla="*/ 17942322 h 17942322"/>
              <a:gd name="connsiteX3" fmla="*/ 0 w 21646735"/>
              <a:gd name="connsiteY3" fmla="*/ 17910017 h 17942322"/>
              <a:gd name="connsiteX4" fmla="*/ 84153 w 21646735"/>
              <a:gd name="connsiteY4" fmla="*/ 0 h 17942322"/>
              <a:gd name="connsiteX0" fmla="*/ 84153 w 21646735"/>
              <a:gd name="connsiteY0" fmla="*/ 0 h 17942322"/>
              <a:gd name="connsiteX1" fmla="*/ 21575855 w 21646735"/>
              <a:gd name="connsiteY1" fmla="*/ 32302 h 17942322"/>
              <a:gd name="connsiteX2" fmla="*/ 21646735 w 21646735"/>
              <a:gd name="connsiteY2" fmla="*/ 17942322 h 17942322"/>
              <a:gd name="connsiteX3" fmla="*/ 0 w 21646735"/>
              <a:gd name="connsiteY3" fmla="*/ 17910017 h 17942322"/>
              <a:gd name="connsiteX4" fmla="*/ 84153 w 21646735"/>
              <a:gd name="connsiteY4" fmla="*/ 0 h 17942322"/>
              <a:gd name="connsiteX0" fmla="*/ 84153 w 21617651"/>
              <a:gd name="connsiteY0" fmla="*/ 0 h 17942322"/>
              <a:gd name="connsiteX1" fmla="*/ 21575855 w 21617651"/>
              <a:gd name="connsiteY1" fmla="*/ 32302 h 17942322"/>
              <a:gd name="connsiteX2" fmla="*/ 21617651 w 21617651"/>
              <a:gd name="connsiteY2" fmla="*/ 17942322 h 17942322"/>
              <a:gd name="connsiteX3" fmla="*/ 0 w 21617651"/>
              <a:gd name="connsiteY3" fmla="*/ 17910017 h 17942322"/>
              <a:gd name="connsiteX4" fmla="*/ 84153 w 21617651"/>
              <a:gd name="connsiteY4" fmla="*/ 0 h 17942322"/>
              <a:gd name="connsiteX0" fmla="*/ 84153 w 21617651"/>
              <a:gd name="connsiteY0" fmla="*/ 0 h 17974621"/>
              <a:gd name="connsiteX1" fmla="*/ 21575855 w 21617651"/>
              <a:gd name="connsiteY1" fmla="*/ 32302 h 17974621"/>
              <a:gd name="connsiteX2" fmla="*/ 21617651 w 21617651"/>
              <a:gd name="connsiteY2" fmla="*/ 17974621 h 17974621"/>
              <a:gd name="connsiteX3" fmla="*/ 0 w 21617651"/>
              <a:gd name="connsiteY3" fmla="*/ 17910017 h 17974621"/>
              <a:gd name="connsiteX4" fmla="*/ 84153 w 21617651"/>
              <a:gd name="connsiteY4" fmla="*/ 0 h 17974621"/>
              <a:gd name="connsiteX0" fmla="*/ 84153 w 21617651"/>
              <a:gd name="connsiteY0" fmla="*/ 0 h 17974621"/>
              <a:gd name="connsiteX1" fmla="*/ 21575855 w 21617651"/>
              <a:gd name="connsiteY1" fmla="*/ 32302 h 17974621"/>
              <a:gd name="connsiteX2" fmla="*/ 21617651 w 21617651"/>
              <a:gd name="connsiteY2" fmla="*/ 17974621 h 17974621"/>
              <a:gd name="connsiteX3" fmla="*/ 0 w 21617651"/>
              <a:gd name="connsiteY3" fmla="*/ 17910017 h 17974621"/>
              <a:gd name="connsiteX4" fmla="*/ 84153 w 21617651"/>
              <a:gd name="connsiteY4" fmla="*/ 0 h 17974621"/>
              <a:gd name="connsiteX0" fmla="*/ 84153 w 21617651"/>
              <a:gd name="connsiteY0" fmla="*/ 64859 h 18039480"/>
              <a:gd name="connsiteX1" fmla="*/ 21575856 w 21617651"/>
              <a:gd name="connsiteY1" fmla="*/ 0 h 18039480"/>
              <a:gd name="connsiteX2" fmla="*/ 21617651 w 21617651"/>
              <a:gd name="connsiteY2" fmla="*/ 18039480 h 18039480"/>
              <a:gd name="connsiteX3" fmla="*/ 0 w 21617651"/>
              <a:gd name="connsiteY3" fmla="*/ 17974876 h 18039480"/>
              <a:gd name="connsiteX4" fmla="*/ 84153 w 21617651"/>
              <a:gd name="connsiteY4" fmla="*/ 64859 h 18039480"/>
              <a:gd name="connsiteX0" fmla="*/ 84153 w 21636807"/>
              <a:gd name="connsiteY0" fmla="*/ 32472 h 18007093"/>
              <a:gd name="connsiteX1" fmla="*/ 21634059 w 21636807"/>
              <a:gd name="connsiteY1" fmla="*/ 0 h 18007093"/>
              <a:gd name="connsiteX2" fmla="*/ 21617651 w 21636807"/>
              <a:gd name="connsiteY2" fmla="*/ 18007093 h 18007093"/>
              <a:gd name="connsiteX3" fmla="*/ 0 w 21636807"/>
              <a:gd name="connsiteY3" fmla="*/ 17942489 h 18007093"/>
              <a:gd name="connsiteX4" fmla="*/ 84153 w 21636807"/>
              <a:gd name="connsiteY4" fmla="*/ 32472 h 18007093"/>
              <a:gd name="connsiteX0" fmla="*/ 84153 w 21636807"/>
              <a:gd name="connsiteY0" fmla="*/ 32472 h 18007093"/>
              <a:gd name="connsiteX1" fmla="*/ 21634059 w 21636807"/>
              <a:gd name="connsiteY1" fmla="*/ 0 h 18007093"/>
              <a:gd name="connsiteX2" fmla="*/ 21617651 w 21636807"/>
              <a:gd name="connsiteY2" fmla="*/ 18007093 h 18007093"/>
              <a:gd name="connsiteX3" fmla="*/ 0 w 21636807"/>
              <a:gd name="connsiteY3" fmla="*/ 17942489 h 18007093"/>
              <a:gd name="connsiteX4" fmla="*/ 84153 w 21636807"/>
              <a:gd name="connsiteY4" fmla="*/ 32472 h 18007093"/>
              <a:gd name="connsiteX0" fmla="*/ 84153 w 21636807"/>
              <a:gd name="connsiteY0" fmla="*/ 32472 h 18007093"/>
              <a:gd name="connsiteX1" fmla="*/ 21634059 w 21636807"/>
              <a:gd name="connsiteY1" fmla="*/ 0 h 18007093"/>
              <a:gd name="connsiteX2" fmla="*/ 21617651 w 21636807"/>
              <a:gd name="connsiteY2" fmla="*/ 18007093 h 18007093"/>
              <a:gd name="connsiteX3" fmla="*/ 0 w 21636807"/>
              <a:gd name="connsiteY3" fmla="*/ 17942489 h 18007093"/>
              <a:gd name="connsiteX4" fmla="*/ 84153 w 21636807"/>
              <a:gd name="connsiteY4" fmla="*/ 32472 h 18007093"/>
              <a:gd name="connsiteX0" fmla="*/ 84153 w 21635827"/>
              <a:gd name="connsiteY0" fmla="*/ 32472 h 18007093"/>
              <a:gd name="connsiteX1" fmla="*/ 21634059 w 21635827"/>
              <a:gd name="connsiteY1" fmla="*/ 0 h 18007093"/>
              <a:gd name="connsiteX2" fmla="*/ 21588550 w 21635827"/>
              <a:gd name="connsiteY2" fmla="*/ 18007093 h 18007093"/>
              <a:gd name="connsiteX3" fmla="*/ 0 w 21635827"/>
              <a:gd name="connsiteY3" fmla="*/ 17942489 h 18007093"/>
              <a:gd name="connsiteX4" fmla="*/ 84153 w 21635827"/>
              <a:gd name="connsiteY4" fmla="*/ 32472 h 18007093"/>
              <a:gd name="connsiteX0" fmla="*/ 84153 w 21636807"/>
              <a:gd name="connsiteY0" fmla="*/ 32472 h 18007093"/>
              <a:gd name="connsiteX1" fmla="*/ 21634059 w 21636807"/>
              <a:gd name="connsiteY1" fmla="*/ 0 h 18007093"/>
              <a:gd name="connsiteX2" fmla="*/ 21617651 w 21636807"/>
              <a:gd name="connsiteY2" fmla="*/ 18007093 h 18007093"/>
              <a:gd name="connsiteX3" fmla="*/ 0 w 21636807"/>
              <a:gd name="connsiteY3" fmla="*/ 17942489 h 18007093"/>
              <a:gd name="connsiteX4" fmla="*/ 84153 w 21636807"/>
              <a:gd name="connsiteY4" fmla="*/ 32472 h 18007093"/>
              <a:gd name="connsiteX0" fmla="*/ 84153 w 21636807"/>
              <a:gd name="connsiteY0" fmla="*/ 32472 h 18007093"/>
              <a:gd name="connsiteX1" fmla="*/ 21634059 w 21636807"/>
              <a:gd name="connsiteY1" fmla="*/ 0 h 18007093"/>
              <a:gd name="connsiteX2" fmla="*/ 21617651 w 21636807"/>
              <a:gd name="connsiteY2" fmla="*/ 18007093 h 18007093"/>
              <a:gd name="connsiteX3" fmla="*/ 0 w 21636807"/>
              <a:gd name="connsiteY3" fmla="*/ 17974873 h 18007093"/>
              <a:gd name="connsiteX4" fmla="*/ 84153 w 21636807"/>
              <a:gd name="connsiteY4" fmla="*/ 32472 h 18007093"/>
              <a:gd name="connsiteX0" fmla="*/ 84153 w 21636807"/>
              <a:gd name="connsiteY0" fmla="*/ 32471 h 18007093"/>
              <a:gd name="connsiteX1" fmla="*/ 21634059 w 21636807"/>
              <a:gd name="connsiteY1" fmla="*/ 0 h 18007093"/>
              <a:gd name="connsiteX2" fmla="*/ 21617651 w 21636807"/>
              <a:gd name="connsiteY2" fmla="*/ 18007093 h 18007093"/>
              <a:gd name="connsiteX3" fmla="*/ 0 w 21636807"/>
              <a:gd name="connsiteY3" fmla="*/ 17974873 h 18007093"/>
              <a:gd name="connsiteX4" fmla="*/ 84153 w 21636807"/>
              <a:gd name="connsiteY4" fmla="*/ 32471 h 18007093"/>
              <a:gd name="connsiteX0" fmla="*/ 55054 w 21636807"/>
              <a:gd name="connsiteY0" fmla="*/ 32471 h 18007093"/>
              <a:gd name="connsiteX1" fmla="*/ 21634059 w 21636807"/>
              <a:gd name="connsiteY1" fmla="*/ 0 h 18007093"/>
              <a:gd name="connsiteX2" fmla="*/ 21617651 w 21636807"/>
              <a:gd name="connsiteY2" fmla="*/ 18007093 h 18007093"/>
              <a:gd name="connsiteX3" fmla="*/ 0 w 21636807"/>
              <a:gd name="connsiteY3" fmla="*/ 17974873 h 18007093"/>
              <a:gd name="connsiteX4" fmla="*/ 55054 w 21636807"/>
              <a:gd name="connsiteY4" fmla="*/ 32471 h 18007093"/>
              <a:gd name="connsiteX0" fmla="*/ 84155 w 21665908"/>
              <a:gd name="connsiteY0" fmla="*/ 32471 h 18007093"/>
              <a:gd name="connsiteX1" fmla="*/ 21663160 w 21665908"/>
              <a:gd name="connsiteY1" fmla="*/ 0 h 18007093"/>
              <a:gd name="connsiteX2" fmla="*/ 21646752 w 21665908"/>
              <a:gd name="connsiteY2" fmla="*/ 18007093 h 18007093"/>
              <a:gd name="connsiteX3" fmla="*/ 0 w 21665908"/>
              <a:gd name="connsiteY3" fmla="*/ 17974873 h 18007093"/>
              <a:gd name="connsiteX4" fmla="*/ 84155 w 21665908"/>
              <a:gd name="connsiteY4" fmla="*/ 32471 h 18007093"/>
              <a:gd name="connsiteX0" fmla="*/ 391 w 21582144"/>
              <a:gd name="connsiteY0" fmla="*/ 32471 h 18007093"/>
              <a:gd name="connsiteX1" fmla="*/ 21579396 w 21582144"/>
              <a:gd name="connsiteY1" fmla="*/ 0 h 18007093"/>
              <a:gd name="connsiteX2" fmla="*/ 21562988 w 21582144"/>
              <a:gd name="connsiteY2" fmla="*/ 18007093 h 18007093"/>
              <a:gd name="connsiteX3" fmla="*/ 32639 w 21582144"/>
              <a:gd name="connsiteY3" fmla="*/ 17877714 h 18007093"/>
              <a:gd name="connsiteX4" fmla="*/ 391 w 21582144"/>
              <a:gd name="connsiteY4" fmla="*/ 32471 h 18007093"/>
              <a:gd name="connsiteX0" fmla="*/ 391 w 21582144"/>
              <a:gd name="connsiteY0" fmla="*/ 32471 h 18039648"/>
              <a:gd name="connsiteX1" fmla="*/ 21579396 w 21582144"/>
              <a:gd name="connsiteY1" fmla="*/ 0 h 18039648"/>
              <a:gd name="connsiteX2" fmla="*/ 21562988 w 21582144"/>
              <a:gd name="connsiteY2" fmla="*/ 18007093 h 18039648"/>
              <a:gd name="connsiteX3" fmla="*/ 32639 w 21582144"/>
              <a:gd name="connsiteY3" fmla="*/ 18039648 h 18039648"/>
              <a:gd name="connsiteX4" fmla="*/ 391 w 21582144"/>
              <a:gd name="connsiteY4" fmla="*/ 32471 h 18039648"/>
              <a:gd name="connsiteX0" fmla="*/ 391 w 21582144"/>
              <a:gd name="connsiteY0" fmla="*/ 32471 h 18039648"/>
              <a:gd name="connsiteX1" fmla="*/ 21579396 w 21582144"/>
              <a:gd name="connsiteY1" fmla="*/ 0 h 18039648"/>
              <a:gd name="connsiteX2" fmla="*/ 21562988 w 21582144"/>
              <a:gd name="connsiteY2" fmla="*/ 18007093 h 18039648"/>
              <a:gd name="connsiteX3" fmla="*/ 32639 w 21582144"/>
              <a:gd name="connsiteY3" fmla="*/ 18039648 h 18039648"/>
              <a:gd name="connsiteX4" fmla="*/ 391 w 21582144"/>
              <a:gd name="connsiteY4" fmla="*/ 32471 h 18039648"/>
              <a:gd name="connsiteX0" fmla="*/ 391 w 21582144"/>
              <a:gd name="connsiteY0" fmla="*/ 32471 h 18039648"/>
              <a:gd name="connsiteX1" fmla="*/ 21579396 w 21582144"/>
              <a:gd name="connsiteY1" fmla="*/ 0 h 18039648"/>
              <a:gd name="connsiteX2" fmla="*/ 21562988 w 21582144"/>
              <a:gd name="connsiteY2" fmla="*/ 18007093 h 18039648"/>
              <a:gd name="connsiteX3" fmla="*/ 32639 w 21582144"/>
              <a:gd name="connsiteY3" fmla="*/ 18039648 h 18039648"/>
              <a:gd name="connsiteX4" fmla="*/ 391 w 21582144"/>
              <a:gd name="connsiteY4" fmla="*/ 32471 h 18039648"/>
              <a:gd name="connsiteX0" fmla="*/ 1109 w 21582862"/>
              <a:gd name="connsiteY0" fmla="*/ 32471 h 18039648"/>
              <a:gd name="connsiteX1" fmla="*/ 21580114 w 21582862"/>
              <a:gd name="connsiteY1" fmla="*/ 0 h 18039648"/>
              <a:gd name="connsiteX2" fmla="*/ 21563706 w 21582862"/>
              <a:gd name="connsiteY2" fmla="*/ 18007093 h 18039648"/>
              <a:gd name="connsiteX3" fmla="*/ 4258 w 21582862"/>
              <a:gd name="connsiteY3" fmla="*/ 18039648 h 18039648"/>
              <a:gd name="connsiteX4" fmla="*/ 1109 w 21582862"/>
              <a:gd name="connsiteY4" fmla="*/ 32471 h 18039648"/>
              <a:gd name="connsiteX0" fmla="*/ 25953 w 21578604"/>
              <a:gd name="connsiteY0" fmla="*/ 32471 h 18039648"/>
              <a:gd name="connsiteX1" fmla="*/ 21575856 w 21578604"/>
              <a:gd name="connsiteY1" fmla="*/ 0 h 18039648"/>
              <a:gd name="connsiteX2" fmla="*/ 21559448 w 21578604"/>
              <a:gd name="connsiteY2" fmla="*/ 18007093 h 18039648"/>
              <a:gd name="connsiteX3" fmla="*/ 0 w 21578604"/>
              <a:gd name="connsiteY3" fmla="*/ 18039648 h 18039648"/>
              <a:gd name="connsiteX4" fmla="*/ 25953 w 21578604"/>
              <a:gd name="connsiteY4" fmla="*/ 32471 h 18039648"/>
              <a:gd name="connsiteX0" fmla="*/ 25953 w 21578604"/>
              <a:gd name="connsiteY0" fmla="*/ 32471 h 18039648"/>
              <a:gd name="connsiteX1" fmla="*/ 21575856 w 21578604"/>
              <a:gd name="connsiteY1" fmla="*/ 0 h 18039648"/>
              <a:gd name="connsiteX2" fmla="*/ 21559448 w 21578604"/>
              <a:gd name="connsiteY2" fmla="*/ 18007093 h 18039648"/>
              <a:gd name="connsiteX3" fmla="*/ 0 w 21578604"/>
              <a:gd name="connsiteY3" fmla="*/ 18039648 h 18039648"/>
              <a:gd name="connsiteX4" fmla="*/ 25953 w 21578604"/>
              <a:gd name="connsiteY4" fmla="*/ 32471 h 18039648"/>
              <a:gd name="connsiteX0" fmla="*/ 25953 w 21578604"/>
              <a:gd name="connsiteY0" fmla="*/ 84 h 18039648"/>
              <a:gd name="connsiteX1" fmla="*/ 21575856 w 21578604"/>
              <a:gd name="connsiteY1" fmla="*/ 0 h 18039648"/>
              <a:gd name="connsiteX2" fmla="*/ 21559448 w 21578604"/>
              <a:gd name="connsiteY2" fmla="*/ 18007093 h 18039648"/>
              <a:gd name="connsiteX3" fmla="*/ 0 w 21578604"/>
              <a:gd name="connsiteY3" fmla="*/ 18039648 h 18039648"/>
              <a:gd name="connsiteX4" fmla="*/ 25953 w 21578604"/>
              <a:gd name="connsiteY4" fmla="*/ 84 h 18039648"/>
              <a:gd name="connsiteX0" fmla="*/ 1110 w 21582860"/>
              <a:gd name="connsiteY0" fmla="*/ 84 h 18039648"/>
              <a:gd name="connsiteX1" fmla="*/ 21580112 w 21582860"/>
              <a:gd name="connsiteY1" fmla="*/ 0 h 18039648"/>
              <a:gd name="connsiteX2" fmla="*/ 21563704 w 21582860"/>
              <a:gd name="connsiteY2" fmla="*/ 18007093 h 18039648"/>
              <a:gd name="connsiteX3" fmla="*/ 4256 w 21582860"/>
              <a:gd name="connsiteY3" fmla="*/ 18039648 h 18039648"/>
              <a:gd name="connsiteX4" fmla="*/ 1110 w 21582860"/>
              <a:gd name="connsiteY4" fmla="*/ 84 h 18039648"/>
              <a:gd name="connsiteX0" fmla="*/ 1109 w 21582860"/>
              <a:gd name="connsiteY0" fmla="*/ 84 h 18039648"/>
              <a:gd name="connsiteX1" fmla="*/ 21580112 w 21582860"/>
              <a:gd name="connsiteY1" fmla="*/ 0 h 18039648"/>
              <a:gd name="connsiteX2" fmla="*/ 21563704 w 21582860"/>
              <a:gd name="connsiteY2" fmla="*/ 18007093 h 18039648"/>
              <a:gd name="connsiteX3" fmla="*/ 4256 w 21582860"/>
              <a:gd name="connsiteY3" fmla="*/ 18039648 h 18039648"/>
              <a:gd name="connsiteX4" fmla="*/ 1109 w 21582860"/>
              <a:gd name="connsiteY4" fmla="*/ 84 h 18039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82860" h="18039648">
                <a:moveTo>
                  <a:pt x="1109" y="84"/>
                </a:moveTo>
                <a:lnTo>
                  <a:pt x="21580112" y="0"/>
                </a:lnTo>
                <a:cubicBezTo>
                  <a:pt x="21594044" y="6013160"/>
                  <a:pt x="21549772" y="11993933"/>
                  <a:pt x="21563704" y="18007093"/>
                </a:cubicBezTo>
                <a:lnTo>
                  <a:pt x="4256" y="18039648"/>
                </a:lnTo>
                <a:cubicBezTo>
                  <a:pt x="9092" y="15558915"/>
                  <a:pt x="-3727" y="2480817"/>
                  <a:pt x="1109" y="84"/>
                </a:cubicBezTo>
                <a:close/>
              </a:path>
            </a:pathLst>
          </a:custGeom>
          <a:gradFill>
            <a:gsLst>
              <a:gs pos="0">
                <a:schemeClr val="accent3">
                  <a:lumMod val="50000"/>
                </a:schemeClr>
              </a:gs>
              <a:gs pos="0">
                <a:schemeClr val="tx2"/>
              </a:gs>
              <a:gs pos="100000">
                <a:schemeClr val="accent3"/>
              </a:gs>
            </a:gsLst>
            <a:lin ang="162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03"/>
            <a:endParaRPr lang="en-GB" sz="1568" dirty="0">
              <a:solidFill>
                <a:srgbClr val="000000"/>
              </a:solidFill>
              <a:latin typeface="Arial"/>
            </a:endParaRPr>
          </a:p>
        </p:txBody>
      </p:sp>
      <p:sp>
        <p:nvSpPr>
          <p:cNvPr id="21" name="doc id">
            <a:extLst>
              <a:ext uri="{FF2B5EF4-FFF2-40B4-BE49-F238E27FC236}">
                <a16:creationId xmlns:a16="http://schemas.microsoft.com/office/drawing/2014/main" id="{B77C1644-D4CF-492B-85C4-12A5D691C8AD}"/>
              </a:ext>
            </a:extLst>
          </p:cNvPr>
          <p:cNvSpPr txBox="1">
            <a:spLocks noChangeArrowheads="1"/>
          </p:cNvSpPr>
          <p:nvPr userDrawn="1"/>
        </p:nvSpPr>
        <p:spPr bwMode="white">
          <a:xfrm>
            <a:off x="11259050" y="36513"/>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784" baseline="0" dirty="0">
              <a:solidFill>
                <a:srgbClr val="FFFFFF"/>
              </a:solidFill>
              <a:latin typeface="+mn-lt"/>
            </a:endParaRPr>
          </a:p>
        </p:txBody>
      </p:sp>
      <p:pic>
        <p:nvPicPr>
          <p:cNvPr id="22" name="Picture 21">
            <a:extLst>
              <a:ext uri="{FF2B5EF4-FFF2-40B4-BE49-F238E27FC236}">
                <a16:creationId xmlns:a16="http://schemas.microsoft.com/office/drawing/2014/main" id="{8CCE9413-6DFB-6A44-BC3B-721B849A7F51}"/>
              </a:ext>
            </a:extLst>
          </p:cNvPr>
          <p:cNvPicPr>
            <a:picLocks noChangeAspect="1"/>
          </p:cNvPicPr>
          <p:nvPr userDrawn="1"/>
        </p:nvPicPr>
        <p:blipFill>
          <a:blip r:embed="rId7"/>
          <a:srcRect r="27807"/>
          <a:stretch>
            <a:fillRect/>
          </a:stretch>
        </p:blipFill>
        <p:spPr>
          <a:xfrm flipH="1" flipV="1">
            <a:off x="7391399" y="-301404"/>
            <a:ext cx="4446305" cy="4245379"/>
          </a:xfrm>
          <a:custGeom>
            <a:avLst/>
            <a:gdLst>
              <a:gd name="connsiteX0" fmla="*/ 0 w 5994518"/>
              <a:gd name="connsiteY0" fmla="*/ 0 h 6242845"/>
              <a:gd name="connsiteX1" fmla="*/ 26078 w 5994518"/>
              <a:gd name="connsiteY1" fmla="*/ 0 h 6242845"/>
              <a:gd name="connsiteX2" fmla="*/ 5994518 w 5994518"/>
              <a:gd name="connsiteY2" fmla="*/ 6242845 h 6242845"/>
              <a:gd name="connsiteX3" fmla="*/ 0 w 5994518"/>
              <a:gd name="connsiteY3" fmla="*/ 6242845 h 6242845"/>
            </a:gdLst>
            <a:ahLst/>
            <a:cxnLst>
              <a:cxn ang="0">
                <a:pos x="connsiteX0" y="connsiteY0"/>
              </a:cxn>
              <a:cxn ang="0">
                <a:pos x="connsiteX1" y="connsiteY1"/>
              </a:cxn>
              <a:cxn ang="0">
                <a:pos x="connsiteX2" y="connsiteY2"/>
              </a:cxn>
              <a:cxn ang="0">
                <a:pos x="connsiteX3" y="connsiteY3"/>
              </a:cxn>
            </a:cxnLst>
            <a:rect l="l" t="t" r="r" b="b"/>
            <a:pathLst>
              <a:path w="5994518" h="6242845">
                <a:moveTo>
                  <a:pt x="0" y="0"/>
                </a:moveTo>
                <a:lnTo>
                  <a:pt x="26078" y="0"/>
                </a:lnTo>
                <a:lnTo>
                  <a:pt x="5994518" y="6242845"/>
                </a:lnTo>
                <a:lnTo>
                  <a:pt x="0" y="6242845"/>
                </a:lnTo>
                <a:close/>
              </a:path>
            </a:pathLst>
          </a:custGeom>
        </p:spPr>
      </p:pic>
      <p:pic>
        <p:nvPicPr>
          <p:cNvPr id="13" name="Picture 12">
            <a:extLst>
              <a:ext uri="{FF2B5EF4-FFF2-40B4-BE49-F238E27FC236}">
                <a16:creationId xmlns:a16="http://schemas.microsoft.com/office/drawing/2014/main" id="{E843FCD4-4E00-4140-AF59-0D0322E2CD1D}"/>
              </a:ext>
            </a:extLst>
          </p:cNvPr>
          <p:cNvPicPr>
            <a:picLocks noChangeAspect="1"/>
          </p:cNvPicPr>
          <p:nvPr userDrawn="1"/>
        </p:nvPicPr>
        <p:blipFill>
          <a:blip r:embed="rId7"/>
          <a:srcRect r="27807"/>
          <a:stretch>
            <a:fillRect/>
          </a:stretch>
        </p:blipFill>
        <p:spPr>
          <a:xfrm>
            <a:off x="111409" y="2777535"/>
            <a:ext cx="4446305" cy="4245379"/>
          </a:xfrm>
          <a:custGeom>
            <a:avLst/>
            <a:gdLst>
              <a:gd name="connsiteX0" fmla="*/ 0 w 5994518"/>
              <a:gd name="connsiteY0" fmla="*/ 0 h 6242845"/>
              <a:gd name="connsiteX1" fmla="*/ 26078 w 5994518"/>
              <a:gd name="connsiteY1" fmla="*/ 0 h 6242845"/>
              <a:gd name="connsiteX2" fmla="*/ 5994518 w 5994518"/>
              <a:gd name="connsiteY2" fmla="*/ 6242845 h 6242845"/>
              <a:gd name="connsiteX3" fmla="*/ 0 w 5994518"/>
              <a:gd name="connsiteY3" fmla="*/ 6242845 h 6242845"/>
            </a:gdLst>
            <a:ahLst/>
            <a:cxnLst>
              <a:cxn ang="0">
                <a:pos x="connsiteX0" y="connsiteY0"/>
              </a:cxn>
              <a:cxn ang="0">
                <a:pos x="connsiteX1" y="connsiteY1"/>
              </a:cxn>
              <a:cxn ang="0">
                <a:pos x="connsiteX2" y="connsiteY2"/>
              </a:cxn>
              <a:cxn ang="0">
                <a:pos x="connsiteX3" y="connsiteY3"/>
              </a:cxn>
            </a:cxnLst>
            <a:rect l="l" t="t" r="r" b="b"/>
            <a:pathLst>
              <a:path w="5994518" h="6242845">
                <a:moveTo>
                  <a:pt x="0" y="0"/>
                </a:moveTo>
                <a:lnTo>
                  <a:pt x="26078" y="0"/>
                </a:lnTo>
                <a:lnTo>
                  <a:pt x="5994518" y="6242845"/>
                </a:lnTo>
                <a:lnTo>
                  <a:pt x="0" y="6242845"/>
                </a:lnTo>
                <a:close/>
              </a:path>
            </a:pathLst>
          </a:custGeom>
        </p:spPr>
      </p:pic>
      <p:pic>
        <p:nvPicPr>
          <p:cNvPr id="2" name="Picture 1">
            <a:extLst>
              <a:ext uri="{FF2B5EF4-FFF2-40B4-BE49-F238E27FC236}">
                <a16:creationId xmlns:a16="http://schemas.microsoft.com/office/drawing/2014/main" id="{6EF8D380-1A23-E94A-BE89-22E198C99E81}"/>
              </a:ext>
            </a:extLst>
          </p:cNvPr>
          <p:cNvPicPr>
            <a:picLocks noChangeAspect="1"/>
          </p:cNvPicPr>
          <p:nvPr userDrawn="1"/>
        </p:nvPicPr>
        <p:blipFill>
          <a:blip r:embed="rId8">
            <a:alphaModFix amt="15000"/>
            <a:extLst>
              <a:ext uri="{BEBA8EAE-BF5A-486C-A8C5-ECC9F3942E4B}">
                <a14:imgProps xmlns:a14="http://schemas.microsoft.com/office/drawing/2010/main">
                  <a14:imgLayer r:embed="rId9">
                    <a14:imgEffect>
                      <a14:backgroundRemoval t="3382" b="98068" l="4918" r="95902">
                        <a14:foregroundMark x1="42623" y1="60386" x2="42623" y2="60386"/>
                        <a14:foregroundMark x1="49180" y1="59420" x2="49180" y2="59420"/>
                        <a14:foregroundMark x1="49180" y1="58454" x2="49180" y2="58454"/>
                        <a14:foregroundMark x1="49180" y1="58454" x2="49180" y2="58454"/>
                        <a14:foregroundMark x1="49180" y1="58454" x2="49180" y2="58454"/>
                        <a14:foregroundMark x1="49180" y1="56039" x2="49180" y2="56039"/>
                        <a14:foregroundMark x1="49180" y1="56039" x2="49180" y2="56039"/>
                        <a14:foregroundMark x1="75000" y1="91304" x2="75000" y2="91304"/>
                        <a14:foregroundMark x1="75000" y1="91304" x2="75000" y2="91304"/>
                        <a14:foregroundMark x1="77869" y1="90338" x2="77869" y2="90338"/>
                        <a14:foregroundMark x1="77869" y1="90338" x2="77869" y2="90338"/>
                        <a14:foregroundMark x1="70492" y1="98068" x2="70492" y2="98068"/>
                        <a14:foregroundMark x1="70492" y1="98068" x2="70492" y2="98068"/>
                        <a14:foregroundMark x1="49180" y1="56039" x2="49180" y2="56039"/>
                        <a14:foregroundMark x1="49180" y1="56039" x2="49180" y2="56039"/>
                        <a14:foregroundMark x1="42213" y1="50725" x2="42213" y2="50725"/>
                        <a14:foregroundMark x1="42213" y1="50725" x2="42213" y2="50725"/>
                        <a14:foregroundMark x1="42213" y1="50725" x2="42213" y2="50725"/>
                        <a14:foregroundMark x1="54508" y1="23188" x2="54508" y2="23188"/>
                        <a14:foregroundMark x1="51230" y1="25121" x2="51230" y2="25121"/>
                        <a14:foregroundMark x1="51230" y1="25121" x2="51230" y2="25121"/>
                        <a14:foregroundMark x1="51230" y1="25121" x2="51230" y2="25121"/>
                        <a14:foregroundMark x1="45902" y1="11594" x2="45902" y2="11594"/>
                        <a14:foregroundMark x1="45902" y1="11594" x2="45902" y2="11594"/>
                        <a14:foregroundMark x1="52869" y1="15459" x2="52869" y2="15459"/>
                        <a14:foregroundMark x1="52869" y1="15459" x2="52869" y2="15459"/>
                        <a14:foregroundMark x1="59836" y1="14976" x2="59836" y2="14976"/>
                        <a14:foregroundMark x1="59836" y1="14976" x2="59836" y2="14976"/>
                        <a14:foregroundMark x1="59426" y1="8696" x2="59426" y2="8696"/>
                        <a14:foregroundMark x1="59426" y1="8696" x2="59426" y2="8696"/>
                        <a14:foregroundMark x1="58197" y1="3382" x2="58197" y2="3382"/>
                        <a14:foregroundMark x1="58197" y1="3382" x2="58197" y2="3382"/>
                        <a14:foregroundMark x1="49180" y1="52657" x2="49180" y2="52657"/>
                        <a14:foregroundMark x1="49180" y1="52657" x2="49180" y2="52657"/>
                        <a14:foregroundMark x1="48361" y1="65217" x2="48361" y2="65217"/>
                        <a14:foregroundMark x1="48361" y1="65217" x2="48361" y2="65217"/>
                        <a14:foregroundMark x1="86885" y1="29469" x2="86885" y2="29469"/>
                        <a14:foregroundMark x1="86885" y1="29469" x2="86885" y2="29469"/>
                        <a14:foregroundMark x1="88525" y1="54589" x2="88525" y2="54589"/>
                        <a14:foregroundMark x1="88525" y1="54589" x2="88525" y2="54589"/>
                        <a14:foregroundMark x1="89344" y1="52657" x2="89344" y2="52657"/>
                        <a14:foregroundMark x1="89344" y1="52657" x2="89344" y2="52657"/>
                        <a14:foregroundMark x1="92623" y1="57005" x2="92623" y2="57005"/>
                        <a14:foregroundMark x1="92623" y1="57005" x2="92623" y2="57005"/>
                        <a14:foregroundMark x1="94672" y1="61836" x2="94672" y2="61836"/>
                        <a14:foregroundMark x1="94672" y1="61836" x2="94672" y2="61836"/>
                        <a14:foregroundMark x1="95902" y1="62802" x2="95902" y2="62802"/>
                        <a14:foregroundMark x1="95902" y1="62802" x2="95902" y2="62802"/>
                        <a14:foregroundMark x1="48361" y1="79227" x2="48361" y2="79227"/>
                        <a14:foregroundMark x1="48361" y1="79227" x2="48361" y2="79227"/>
                        <a14:foregroundMark x1="4918" y1="55556" x2="4918" y2="55556"/>
                        <a14:foregroundMark x1="4918" y1="55556" x2="4918" y2="55556"/>
                        <a14:foregroundMark x1="40984" y1="16908" x2="40984" y2="16908"/>
                        <a14:foregroundMark x1="40984" y1="16908" x2="40984" y2="16908"/>
                        <a14:foregroundMark x1="52049" y1="31884" x2="52049" y2="31884"/>
                        <a14:foregroundMark x1="47541" y1="31884" x2="47541" y2="31884"/>
                        <a14:foregroundMark x1="47541" y1="31884" x2="47541" y2="31884"/>
                        <a14:foregroundMark x1="54918" y1="38164" x2="54918" y2="38164"/>
                        <a14:foregroundMark x1="46311" y1="37681" x2="46311" y2="37681"/>
                        <a14:foregroundMark x1="46311" y1="37681" x2="46311" y2="37681"/>
                        <a14:foregroundMark x1="46311" y1="37681" x2="46311" y2="37681"/>
                        <a14:foregroundMark x1="45082" y1="36715" x2="45082" y2="36715"/>
                        <a14:foregroundMark x1="47131" y1="37681" x2="47131" y2="37681"/>
                        <a14:foregroundMark x1="46721" y1="37198" x2="46721" y2="37198"/>
                        <a14:foregroundMark x1="46721" y1="37198" x2="46721" y2="37198"/>
                        <a14:foregroundMark x1="39754" y1="40097" x2="39754" y2="40097"/>
                        <a14:foregroundMark x1="39754" y1="40097" x2="39754" y2="40097"/>
                        <a14:foregroundMark x1="39344" y1="38647" x2="39344" y2="38647"/>
                        <a14:foregroundMark x1="39344" y1="38647" x2="39344" y2="38647"/>
                        <a14:backgroundMark x1="49590" y1="41063" x2="49590" y2="41063"/>
                        <a14:backgroundMark x1="49590" y1="41063" x2="49590" y2="41063"/>
                        <a14:backgroundMark x1="49590" y1="41063" x2="49590" y2="41063"/>
                        <a14:backgroundMark x1="45082" y1="42512" x2="45082" y2="42512"/>
                        <a14:backgroundMark x1="46721" y1="40097" x2="46721" y2="40097"/>
                        <a14:backgroundMark x1="46721" y1="40097" x2="46721" y2="40097"/>
                        <a14:backgroundMark x1="49590" y1="30918" x2="49590" y2="30918"/>
                        <a14:backgroundMark x1="49590" y1="30918" x2="49590" y2="30918"/>
                      </a14:backgroundRemoval>
                    </a14:imgEffect>
                  </a14:imgLayer>
                </a14:imgProps>
              </a:ext>
            </a:extLst>
          </a:blip>
          <a:stretch>
            <a:fillRect/>
          </a:stretch>
        </p:blipFill>
        <p:spPr>
          <a:xfrm>
            <a:off x="4425156" y="2046287"/>
            <a:ext cx="3098800" cy="2628900"/>
          </a:xfrm>
          <a:prstGeom prst="rect">
            <a:avLst/>
          </a:prstGeom>
        </p:spPr>
      </p:pic>
    </p:spTree>
    <p:extLst>
      <p:ext uri="{BB962C8B-B14F-4D97-AF65-F5344CB8AC3E}">
        <p14:creationId xmlns:p14="http://schemas.microsoft.com/office/powerpoint/2010/main" val="41544599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PPRP White End P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5251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D27C6C-F961-4DDE-91AE-F7106FF284AE}"/>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5" name="doc id" hidden="1"/>
          <p:cNvSpPr txBox="1">
            <a:spLocks noChangeArrowheads="1"/>
          </p:cNvSpPr>
          <p:nvPr/>
        </p:nvSpPr>
        <p:spPr bwMode="auto">
          <a:xfrm>
            <a:off x="11259050"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1067" baseline="0" noProof="0" dirty="0">
              <a:solidFill>
                <a:schemeClr val="bg1"/>
              </a:solidFill>
              <a:latin typeface="+mn-lt"/>
            </a:endParaRPr>
          </a:p>
        </p:txBody>
      </p:sp>
      <p:sp>
        <p:nvSpPr>
          <p:cNvPr id="57" name="Document type" hidden="1"/>
          <p:cNvSpPr txBox="1">
            <a:spLocks noChangeArrowheads="1"/>
          </p:cNvSpPr>
          <p:nvPr/>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solidFill>
                  <a:schemeClr val="bg1"/>
                </a:solidFill>
                <a:latin typeface="+mn-lt"/>
              </a:rPr>
              <a:t>Document type | Date</a:t>
            </a:r>
          </a:p>
        </p:txBody>
      </p:sp>
      <p:sp>
        <p:nvSpPr>
          <p:cNvPr id="26" name="Disclaimer-English (United States)" hidden="1"/>
          <p:cNvSpPr>
            <a:spLocks noChangeArrowheads="1"/>
          </p:cNvSpPr>
          <p:nvPr/>
        </p:nvSpPr>
        <p:spPr bwMode="black">
          <a:xfrm>
            <a:off x="2781424" y="6254081"/>
            <a:ext cx="5120516" cy="380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ZA" sz="800" baseline="0" dirty="0">
                <a:solidFill>
                  <a:schemeClr val="bg1"/>
                </a:solidFill>
                <a:latin typeface="+mn-lt"/>
              </a:rPr>
              <a:t>CONFIDENTIAL AND PROPRIETARY</a:t>
            </a:r>
          </a:p>
          <a:p>
            <a:pPr defTabSz="1073204" eaLnBrk="0" hangingPunct="0"/>
            <a:r>
              <a:rPr lang="en-ZA" sz="800" baseline="0" dirty="0">
                <a:solidFill>
                  <a:schemeClr val="bg1"/>
                </a:solidFill>
                <a:latin typeface="+mn-lt"/>
              </a:rPr>
              <a:t>Any use of this material without specific permission is strictly prohibited</a:t>
            </a:r>
            <a:endParaRPr lang="en-US" sz="800" baseline="0" dirty="0">
              <a:solidFill>
                <a:schemeClr val="bg1"/>
              </a:solidFill>
              <a:latin typeface="+mn-lt"/>
            </a:endParaRPr>
          </a:p>
        </p:txBody>
      </p:sp>
      <p:sp>
        <p:nvSpPr>
          <p:cNvPr id="7" name="Working Draft Text" hidden="1">
            <a:extLst>
              <a:ext uri="{FF2B5EF4-FFF2-40B4-BE49-F238E27FC236}">
                <a16:creationId xmlns:a16="http://schemas.microsoft.com/office/drawing/2014/main" id="{8B36C022-4CD7-4AE3-9EB9-C2A7C0991460}"/>
              </a:ext>
            </a:extLst>
          </p:cNvPr>
          <p:cNvSpPr txBox="1"/>
          <p:nvPr/>
        </p:nvSpPr>
        <p:spPr>
          <a:xfrm>
            <a:off x="8064500" y="6223000"/>
            <a:ext cx="1066318" cy="215444"/>
          </a:xfrm>
          <a:prstGeom prst="rect">
            <a:avLst/>
          </a:prstGeom>
          <a:noFill/>
        </p:spPr>
        <p:txBody>
          <a:bodyPr vert="horz" wrap="none" rtlCol="0">
            <a:spAutoFit/>
          </a:bodyPr>
          <a:lstStyle/>
          <a:p>
            <a:r>
              <a:rPr lang="en-ZA" sz="800" b="1" dirty="0">
                <a:solidFill>
                  <a:srgbClr val="FFFFFF"/>
                </a:solidFill>
              </a:rPr>
              <a:t>WORKING DRAFT</a:t>
            </a:r>
          </a:p>
        </p:txBody>
      </p:sp>
      <p:sp>
        <p:nvSpPr>
          <p:cNvPr id="8" name="Working Draft" hidden="1">
            <a:extLst>
              <a:ext uri="{FF2B5EF4-FFF2-40B4-BE49-F238E27FC236}">
                <a16:creationId xmlns:a16="http://schemas.microsoft.com/office/drawing/2014/main" id="{1499DE9C-1052-42CC-A648-F322B77CCA05}"/>
              </a:ext>
            </a:extLst>
          </p:cNvPr>
          <p:cNvSpPr txBox="1"/>
          <p:nvPr/>
        </p:nvSpPr>
        <p:spPr>
          <a:xfrm>
            <a:off x="8064500" y="6350000"/>
            <a:ext cx="3214341" cy="215444"/>
          </a:xfrm>
          <a:prstGeom prst="rect">
            <a:avLst/>
          </a:prstGeom>
          <a:noFill/>
        </p:spPr>
        <p:txBody>
          <a:bodyPr vert="horz" wrap="none" rtlCol="0">
            <a:spAutoFit/>
          </a:bodyPr>
          <a:lstStyle/>
          <a:p>
            <a:r>
              <a:rPr lang="en-US" sz="800">
                <a:solidFill>
                  <a:srgbClr val="FFFFFF"/>
                </a:solidFill>
              </a:rPr>
              <a:t>Last Modified 2020/03/08 22:31 W. Central Africa Standard Time</a:t>
            </a:r>
            <a:endParaRPr lang="en-ZA" sz="800" dirty="0">
              <a:solidFill>
                <a:srgbClr val="FFFFFF"/>
              </a:solidFill>
            </a:endParaRPr>
          </a:p>
        </p:txBody>
      </p:sp>
      <p:sp>
        <p:nvSpPr>
          <p:cNvPr id="9" name="Printed" hidden="1">
            <a:extLst>
              <a:ext uri="{FF2B5EF4-FFF2-40B4-BE49-F238E27FC236}">
                <a16:creationId xmlns:a16="http://schemas.microsoft.com/office/drawing/2014/main" id="{9598A30F-8710-45D8-9018-9E04EB86EFEC}"/>
              </a:ext>
            </a:extLst>
          </p:cNvPr>
          <p:cNvSpPr txBox="1"/>
          <p:nvPr/>
        </p:nvSpPr>
        <p:spPr>
          <a:xfrm>
            <a:off x="8064500" y="6477000"/>
            <a:ext cx="511679" cy="215444"/>
          </a:xfrm>
          <a:prstGeom prst="rect">
            <a:avLst/>
          </a:prstGeom>
          <a:noFill/>
        </p:spPr>
        <p:txBody>
          <a:bodyPr vert="horz" wrap="none" rtlCol="0">
            <a:spAutoFit/>
          </a:bodyPr>
          <a:lstStyle/>
          <a:p>
            <a:r>
              <a:rPr lang="en-ZA" sz="800" dirty="0">
                <a:solidFill>
                  <a:srgbClr val="FFFFFF"/>
                </a:solidFill>
              </a:rPr>
              <a:t>Printed</a:t>
            </a:r>
          </a:p>
        </p:txBody>
      </p:sp>
      <p:sp>
        <p:nvSpPr>
          <p:cNvPr id="21" name="doc id">
            <a:extLst>
              <a:ext uri="{FF2B5EF4-FFF2-40B4-BE49-F238E27FC236}">
                <a16:creationId xmlns:a16="http://schemas.microsoft.com/office/drawing/2014/main" id="{B77C1644-D4CF-492B-85C4-12A5D691C8AD}"/>
              </a:ext>
            </a:extLst>
          </p:cNvPr>
          <p:cNvSpPr txBox="1">
            <a:spLocks noChangeArrowheads="1"/>
          </p:cNvSpPr>
          <p:nvPr userDrawn="1"/>
        </p:nvSpPr>
        <p:spPr bwMode="white">
          <a:xfrm>
            <a:off x="11259050" y="36513"/>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784" baseline="0" dirty="0">
              <a:solidFill>
                <a:srgbClr val="FFFFFF"/>
              </a:solidFill>
              <a:latin typeface="+mn-lt"/>
            </a:endParaRPr>
          </a:p>
        </p:txBody>
      </p:sp>
      <p:pic>
        <p:nvPicPr>
          <p:cNvPr id="22" name="Picture 21">
            <a:extLst>
              <a:ext uri="{FF2B5EF4-FFF2-40B4-BE49-F238E27FC236}">
                <a16:creationId xmlns:a16="http://schemas.microsoft.com/office/drawing/2014/main" id="{8CCE9413-6DFB-6A44-BC3B-721B849A7F51}"/>
              </a:ext>
            </a:extLst>
          </p:cNvPr>
          <p:cNvPicPr>
            <a:picLocks noChangeAspect="1"/>
          </p:cNvPicPr>
          <p:nvPr userDrawn="1"/>
        </p:nvPicPr>
        <p:blipFill>
          <a:blip r:embed="rId7"/>
          <a:srcRect r="27807"/>
          <a:stretch>
            <a:fillRect/>
          </a:stretch>
        </p:blipFill>
        <p:spPr>
          <a:xfrm flipH="1" flipV="1">
            <a:off x="7391399" y="-301404"/>
            <a:ext cx="4446305" cy="4245379"/>
          </a:xfrm>
          <a:custGeom>
            <a:avLst/>
            <a:gdLst>
              <a:gd name="connsiteX0" fmla="*/ 0 w 5994518"/>
              <a:gd name="connsiteY0" fmla="*/ 0 h 6242845"/>
              <a:gd name="connsiteX1" fmla="*/ 26078 w 5994518"/>
              <a:gd name="connsiteY1" fmla="*/ 0 h 6242845"/>
              <a:gd name="connsiteX2" fmla="*/ 5994518 w 5994518"/>
              <a:gd name="connsiteY2" fmla="*/ 6242845 h 6242845"/>
              <a:gd name="connsiteX3" fmla="*/ 0 w 5994518"/>
              <a:gd name="connsiteY3" fmla="*/ 6242845 h 6242845"/>
            </a:gdLst>
            <a:ahLst/>
            <a:cxnLst>
              <a:cxn ang="0">
                <a:pos x="connsiteX0" y="connsiteY0"/>
              </a:cxn>
              <a:cxn ang="0">
                <a:pos x="connsiteX1" y="connsiteY1"/>
              </a:cxn>
              <a:cxn ang="0">
                <a:pos x="connsiteX2" y="connsiteY2"/>
              </a:cxn>
              <a:cxn ang="0">
                <a:pos x="connsiteX3" y="connsiteY3"/>
              </a:cxn>
            </a:cxnLst>
            <a:rect l="l" t="t" r="r" b="b"/>
            <a:pathLst>
              <a:path w="5994518" h="6242845">
                <a:moveTo>
                  <a:pt x="0" y="0"/>
                </a:moveTo>
                <a:lnTo>
                  <a:pt x="26078" y="0"/>
                </a:lnTo>
                <a:lnTo>
                  <a:pt x="5994518" y="6242845"/>
                </a:lnTo>
                <a:lnTo>
                  <a:pt x="0" y="6242845"/>
                </a:lnTo>
                <a:close/>
              </a:path>
            </a:pathLst>
          </a:custGeom>
        </p:spPr>
      </p:pic>
      <p:pic>
        <p:nvPicPr>
          <p:cNvPr id="13" name="Picture 12">
            <a:extLst>
              <a:ext uri="{FF2B5EF4-FFF2-40B4-BE49-F238E27FC236}">
                <a16:creationId xmlns:a16="http://schemas.microsoft.com/office/drawing/2014/main" id="{E843FCD4-4E00-4140-AF59-0D0322E2CD1D}"/>
              </a:ext>
            </a:extLst>
          </p:cNvPr>
          <p:cNvPicPr>
            <a:picLocks noChangeAspect="1"/>
          </p:cNvPicPr>
          <p:nvPr userDrawn="1"/>
        </p:nvPicPr>
        <p:blipFill>
          <a:blip r:embed="rId7"/>
          <a:srcRect r="27807"/>
          <a:stretch>
            <a:fillRect/>
          </a:stretch>
        </p:blipFill>
        <p:spPr>
          <a:xfrm>
            <a:off x="111409" y="2777535"/>
            <a:ext cx="4446305" cy="4245379"/>
          </a:xfrm>
          <a:custGeom>
            <a:avLst/>
            <a:gdLst>
              <a:gd name="connsiteX0" fmla="*/ 0 w 5994518"/>
              <a:gd name="connsiteY0" fmla="*/ 0 h 6242845"/>
              <a:gd name="connsiteX1" fmla="*/ 26078 w 5994518"/>
              <a:gd name="connsiteY1" fmla="*/ 0 h 6242845"/>
              <a:gd name="connsiteX2" fmla="*/ 5994518 w 5994518"/>
              <a:gd name="connsiteY2" fmla="*/ 6242845 h 6242845"/>
              <a:gd name="connsiteX3" fmla="*/ 0 w 5994518"/>
              <a:gd name="connsiteY3" fmla="*/ 6242845 h 6242845"/>
            </a:gdLst>
            <a:ahLst/>
            <a:cxnLst>
              <a:cxn ang="0">
                <a:pos x="connsiteX0" y="connsiteY0"/>
              </a:cxn>
              <a:cxn ang="0">
                <a:pos x="connsiteX1" y="connsiteY1"/>
              </a:cxn>
              <a:cxn ang="0">
                <a:pos x="connsiteX2" y="connsiteY2"/>
              </a:cxn>
              <a:cxn ang="0">
                <a:pos x="connsiteX3" y="connsiteY3"/>
              </a:cxn>
            </a:cxnLst>
            <a:rect l="l" t="t" r="r" b="b"/>
            <a:pathLst>
              <a:path w="5994518" h="6242845">
                <a:moveTo>
                  <a:pt x="0" y="0"/>
                </a:moveTo>
                <a:lnTo>
                  <a:pt x="26078" y="0"/>
                </a:lnTo>
                <a:lnTo>
                  <a:pt x="5994518" y="6242845"/>
                </a:lnTo>
                <a:lnTo>
                  <a:pt x="0" y="6242845"/>
                </a:lnTo>
                <a:close/>
              </a:path>
            </a:pathLst>
          </a:custGeom>
        </p:spPr>
      </p:pic>
      <p:pic>
        <p:nvPicPr>
          <p:cNvPr id="2" name="Picture 1">
            <a:extLst>
              <a:ext uri="{FF2B5EF4-FFF2-40B4-BE49-F238E27FC236}">
                <a16:creationId xmlns:a16="http://schemas.microsoft.com/office/drawing/2014/main" id="{F5FB2F39-7441-8D45-9C0D-877D4FFA830C}"/>
              </a:ext>
            </a:extLst>
          </p:cNvPr>
          <p:cNvPicPr>
            <a:picLocks noChangeAspect="1"/>
          </p:cNvPicPr>
          <p:nvPr userDrawn="1"/>
        </p:nvPicPr>
        <p:blipFill>
          <a:blip r:embed="rId8">
            <a:alphaModFix amt="15000"/>
          </a:blip>
          <a:stretch>
            <a:fillRect/>
          </a:stretch>
        </p:blipFill>
        <p:spPr>
          <a:xfrm>
            <a:off x="4425156" y="2046287"/>
            <a:ext cx="3098800" cy="2628900"/>
          </a:xfrm>
          <a:prstGeom prst="rect">
            <a:avLst/>
          </a:prstGeom>
        </p:spPr>
      </p:pic>
    </p:spTree>
    <p:extLst>
      <p:ext uri="{BB962C8B-B14F-4D97-AF65-F5344CB8AC3E}">
        <p14:creationId xmlns:p14="http://schemas.microsoft.com/office/powerpoint/2010/main" val="26252803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PPRP Agenda Default">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5256928"/>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9672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11" name="TextBox 10"/>
          <p:cNvSpPr txBox="1"/>
          <p:nvPr userDrawn="1"/>
        </p:nvSpPr>
        <p:spPr>
          <a:xfrm>
            <a:off x="617449" y="889138"/>
            <a:ext cx="3380094" cy="1196171"/>
          </a:xfrm>
          <a:prstGeom prst="rect">
            <a:avLst/>
          </a:prstGeom>
          <a:noFill/>
          <a:ln>
            <a:solidFill>
              <a:schemeClr val="tx1"/>
            </a:solidFill>
          </a:ln>
        </p:spPr>
        <p:txBody>
          <a:bodyPr wrap="square" lIns="599808" tIns="458677" rIns="0" bIns="0" rtlCol="0" anchor="t">
            <a:spAutoFit/>
          </a:bodyPr>
          <a:lstStyle/>
          <a:p>
            <a:pPr>
              <a:lnSpc>
                <a:spcPct val="90000"/>
              </a:lnSpc>
              <a:spcAft>
                <a:spcPts val="588"/>
              </a:spcAft>
            </a:pPr>
            <a:endParaRPr lang="en-US" sz="5293" dirty="0">
              <a:solidFill>
                <a:srgbClr val="333A5E"/>
              </a:solidFill>
            </a:endParaRPr>
          </a:p>
        </p:txBody>
      </p:sp>
      <p:sp>
        <p:nvSpPr>
          <p:cNvPr id="4" name="Text Placeholder 3">
            <a:extLst>
              <a:ext uri="{FF2B5EF4-FFF2-40B4-BE49-F238E27FC236}">
                <a16:creationId xmlns:a16="http://schemas.microsoft.com/office/drawing/2014/main" id="{E1D14662-5EA6-6946-B18A-007366D18E86}"/>
              </a:ext>
            </a:extLst>
          </p:cNvPr>
          <p:cNvSpPr>
            <a:spLocks noGrp="1"/>
          </p:cNvSpPr>
          <p:nvPr>
            <p:ph type="body" sz="quarter" idx="10" hasCustomPrompt="1"/>
          </p:nvPr>
        </p:nvSpPr>
        <p:spPr>
          <a:xfrm>
            <a:off x="4626760" y="889138"/>
            <a:ext cx="5036365" cy="5012380"/>
          </a:xfrm>
        </p:spPr>
        <p:txBody>
          <a:bodyPr>
            <a:normAutofit/>
          </a:bodyPr>
          <a:lstStyle>
            <a:lvl1pPr>
              <a:defRPr sz="2352">
                <a:solidFill>
                  <a:srgbClr val="176739"/>
                </a:solidFill>
              </a:defRPr>
            </a:lvl1pPr>
            <a:lvl2pPr>
              <a:defRPr sz="2352">
                <a:solidFill>
                  <a:srgbClr val="176739"/>
                </a:solidFill>
              </a:defRPr>
            </a:lvl2pPr>
            <a:lvl3pPr>
              <a:defRPr sz="2352">
                <a:solidFill>
                  <a:srgbClr val="176739"/>
                </a:solidFill>
              </a:defRPr>
            </a:lvl3pPr>
            <a:lvl4pPr>
              <a:defRPr sz="2352">
                <a:solidFill>
                  <a:srgbClr val="176739"/>
                </a:solidFill>
              </a:defRPr>
            </a:lvl4pPr>
            <a:lvl5pPr>
              <a:defRPr sz="2352">
                <a:solidFill>
                  <a:srgbClr val="176739"/>
                </a:solidFill>
              </a:defRPr>
            </a:lvl5pPr>
          </a:lstStyle>
          <a:p>
            <a:pPr lvl="0"/>
            <a:r>
              <a:rPr lang="en-GB" dirty="0"/>
              <a:t>Click to edit first level text</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TextBox 1">
            <a:extLst>
              <a:ext uri="{FF2B5EF4-FFF2-40B4-BE49-F238E27FC236}">
                <a16:creationId xmlns:a16="http://schemas.microsoft.com/office/drawing/2014/main" id="{31A8A388-A6D7-A649-92B5-BCAA6FD26AF6}"/>
              </a:ext>
            </a:extLst>
          </p:cNvPr>
          <p:cNvSpPr txBox="1"/>
          <p:nvPr userDrawn="1"/>
        </p:nvSpPr>
        <p:spPr>
          <a:xfrm>
            <a:off x="786887" y="2553776"/>
            <a:ext cx="3167855" cy="146783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a:r>
              <a:rPr lang="en-US" sz="4704" dirty="0">
                <a:solidFill>
                  <a:srgbClr val="176739"/>
                </a:solidFill>
                <a:latin typeface="Century Gothic" panose="020B0502020202020204" pitchFamily="34" charset="0"/>
              </a:rPr>
              <a:t>Executive </a:t>
            </a:r>
          </a:p>
          <a:p>
            <a:pPr algn="l"/>
            <a:r>
              <a:rPr lang="en-US" sz="4704" dirty="0">
                <a:solidFill>
                  <a:srgbClr val="176739"/>
                </a:solidFill>
                <a:latin typeface="Century Gothic" panose="020B0502020202020204" pitchFamily="34" charset="0"/>
              </a:rPr>
              <a:t>Summary</a:t>
            </a:r>
          </a:p>
        </p:txBody>
      </p:sp>
      <p:cxnSp>
        <p:nvCxnSpPr>
          <p:cNvPr id="17" name="Straight Connector 16">
            <a:extLst>
              <a:ext uri="{FF2B5EF4-FFF2-40B4-BE49-F238E27FC236}">
                <a16:creationId xmlns:a16="http://schemas.microsoft.com/office/drawing/2014/main" id="{652376E7-1A8F-C84C-BAEE-02F6895BABC5}"/>
              </a:ext>
            </a:extLst>
          </p:cNvPr>
          <p:cNvCxnSpPr/>
          <p:nvPr userDrawn="1"/>
        </p:nvCxnSpPr>
        <p:spPr>
          <a:xfrm>
            <a:off x="3998596" y="478359"/>
            <a:ext cx="0" cy="5776347"/>
          </a:xfrm>
          <a:prstGeom prst="line">
            <a:avLst/>
          </a:prstGeom>
          <a:ln w="38100">
            <a:solidFill>
              <a:srgbClr val="176739"/>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E80734B1-0579-7A44-9CE0-4E72C6BB0124}"/>
              </a:ext>
            </a:extLst>
          </p:cNvPr>
          <p:cNvPicPr>
            <a:picLocks noChangeAspect="1"/>
          </p:cNvPicPr>
          <p:nvPr userDrawn="1"/>
        </p:nvPicPr>
        <p:blipFill>
          <a:blip r:embed="rId6"/>
          <a:srcRect r="27807"/>
          <a:stretch>
            <a:fillRect/>
          </a:stretch>
        </p:blipFill>
        <p:spPr>
          <a:xfrm flipH="1">
            <a:off x="7391399" y="2857817"/>
            <a:ext cx="4446305" cy="4245379"/>
          </a:xfrm>
          <a:custGeom>
            <a:avLst/>
            <a:gdLst>
              <a:gd name="connsiteX0" fmla="*/ 0 w 5994518"/>
              <a:gd name="connsiteY0" fmla="*/ 0 h 6242845"/>
              <a:gd name="connsiteX1" fmla="*/ 26078 w 5994518"/>
              <a:gd name="connsiteY1" fmla="*/ 0 h 6242845"/>
              <a:gd name="connsiteX2" fmla="*/ 5994518 w 5994518"/>
              <a:gd name="connsiteY2" fmla="*/ 6242845 h 6242845"/>
              <a:gd name="connsiteX3" fmla="*/ 0 w 5994518"/>
              <a:gd name="connsiteY3" fmla="*/ 6242845 h 6242845"/>
            </a:gdLst>
            <a:ahLst/>
            <a:cxnLst>
              <a:cxn ang="0">
                <a:pos x="connsiteX0" y="connsiteY0"/>
              </a:cxn>
              <a:cxn ang="0">
                <a:pos x="connsiteX1" y="connsiteY1"/>
              </a:cxn>
              <a:cxn ang="0">
                <a:pos x="connsiteX2" y="connsiteY2"/>
              </a:cxn>
              <a:cxn ang="0">
                <a:pos x="connsiteX3" y="connsiteY3"/>
              </a:cxn>
            </a:cxnLst>
            <a:rect l="l" t="t" r="r" b="b"/>
            <a:pathLst>
              <a:path w="5994518" h="6242845">
                <a:moveTo>
                  <a:pt x="0" y="0"/>
                </a:moveTo>
                <a:lnTo>
                  <a:pt x="26078" y="0"/>
                </a:lnTo>
                <a:lnTo>
                  <a:pt x="5994518" y="6242845"/>
                </a:lnTo>
                <a:lnTo>
                  <a:pt x="0" y="6242845"/>
                </a:lnTo>
                <a:close/>
              </a:path>
            </a:pathLst>
          </a:custGeom>
        </p:spPr>
      </p:pic>
    </p:spTree>
    <p:extLst>
      <p:ext uri="{BB962C8B-B14F-4D97-AF65-F5344CB8AC3E}">
        <p14:creationId xmlns:p14="http://schemas.microsoft.com/office/powerpoint/2010/main" val="2809560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8DE302D-FDCC-384B-9D85-2C2C1907AD78}"/>
              </a:ext>
            </a:extLst>
          </p:cNvPr>
          <p:cNvSpPr>
            <a:spLocks noGrp="1"/>
          </p:cNvSpPr>
          <p:nvPr>
            <p:ph type="dt" sz="half" idx="10"/>
          </p:nvPr>
        </p:nvSpPr>
        <p:spPr/>
        <p:txBody>
          <a:bodyPr/>
          <a:lstStyle/>
          <a:p>
            <a:fld id="{01C7BD74-1AF3-5447-97C6-A23E7FCF3A6D}" type="datetimeFigureOut">
              <a:rPr lang="en-US" smtClean="0"/>
              <a:t>11/3/2020</a:t>
            </a:fld>
            <a:endParaRPr lang="en-US"/>
          </a:p>
        </p:txBody>
      </p:sp>
      <p:sp>
        <p:nvSpPr>
          <p:cNvPr id="3" name="Footer Placeholder 2">
            <a:extLst>
              <a:ext uri="{FF2B5EF4-FFF2-40B4-BE49-F238E27FC236}">
                <a16:creationId xmlns:a16="http://schemas.microsoft.com/office/drawing/2014/main" id="{77F31A71-E7D9-C942-929F-9723F8BB773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89E8D53-720B-1A4D-A4B8-4B7010389BDB}"/>
              </a:ext>
            </a:extLst>
          </p:cNvPr>
          <p:cNvSpPr>
            <a:spLocks noGrp="1"/>
          </p:cNvSpPr>
          <p:nvPr>
            <p:ph type="sldNum" sz="quarter" idx="12"/>
          </p:nvPr>
        </p:nvSpPr>
        <p:spPr/>
        <p:txBody>
          <a:bodyPr/>
          <a:lstStyle/>
          <a:p>
            <a:fld id="{77D65D29-529B-404E-8088-2FA80C2E0D0E}" type="slidenum">
              <a:rPr lang="en-US" smtClean="0"/>
              <a:t>‹#›</a:t>
            </a:fld>
            <a:endParaRPr lang="en-US"/>
          </a:p>
        </p:txBody>
      </p:sp>
    </p:spTree>
    <p:extLst>
      <p:ext uri="{BB962C8B-B14F-4D97-AF65-F5344CB8AC3E}">
        <p14:creationId xmlns:p14="http://schemas.microsoft.com/office/powerpoint/2010/main" val="25599997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PRP Agenda Inverse">
    <p:bg>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98281482"/>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4310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9" name="TextBox 1"/>
          <p:cNvSpPr txBox="1"/>
          <p:nvPr userDrawn="1"/>
        </p:nvSpPr>
        <p:spPr>
          <a:xfrm>
            <a:off x="1059393" y="2971610"/>
            <a:ext cx="2622834" cy="780085"/>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704" dirty="0">
                <a:solidFill>
                  <a:schemeClr val="tx1"/>
                </a:solidFill>
                <a:latin typeface="Century Gothic" panose="020B0502020202020204" pitchFamily="34" charset="0"/>
              </a:rPr>
              <a:t>Agenda</a:t>
            </a:r>
          </a:p>
        </p:txBody>
      </p:sp>
      <p:sp>
        <p:nvSpPr>
          <p:cNvPr id="4" name="Text Placeholder 3">
            <a:extLst>
              <a:ext uri="{FF2B5EF4-FFF2-40B4-BE49-F238E27FC236}">
                <a16:creationId xmlns:a16="http://schemas.microsoft.com/office/drawing/2014/main" id="{E1D14662-5EA6-6946-B18A-007366D18E86}"/>
              </a:ext>
            </a:extLst>
          </p:cNvPr>
          <p:cNvSpPr>
            <a:spLocks noGrp="1"/>
          </p:cNvSpPr>
          <p:nvPr>
            <p:ph type="body" sz="quarter" idx="10" hasCustomPrompt="1"/>
          </p:nvPr>
        </p:nvSpPr>
        <p:spPr>
          <a:xfrm>
            <a:off x="4627815" y="858262"/>
            <a:ext cx="5504683" cy="5043256"/>
          </a:xfrm>
        </p:spPr>
        <p:txBody>
          <a:bodyPr>
            <a:normAutofit/>
          </a:bodyPr>
          <a:lstStyle>
            <a:lvl1pPr>
              <a:defRPr sz="2352">
                <a:solidFill>
                  <a:schemeClr val="tx1"/>
                </a:solidFill>
              </a:defRPr>
            </a:lvl1pPr>
            <a:lvl2pPr>
              <a:defRPr sz="2352">
                <a:solidFill>
                  <a:schemeClr val="tx1"/>
                </a:solidFill>
              </a:defRPr>
            </a:lvl2pPr>
            <a:lvl3pPr>
              <a:defRPr sz="2352">
                <a:solidFill>
                  <a:schemeClr val="tx1"/>
                </a:solidFill>
              </a:defRPr>
            </a:lvl3pPr>
            <a:lvl4pPr>
              <a:defRPr sz="2352">
                <a:solidFill>
                  <a:schemeClr val="tx1"/>
                </a:solidFill>
              </a:defRPr>
            </a:lvl4pPr>
            <a:lvl5pPr>
              <a:defRPr sz="2352">
                <a:solidFill>
                  <a:schemeClr val="tx1"/>
                </a:solidFill>
              </a:defRPr>
            </a:lvl5pPr>
          </a:lstStyle>
          <a:p>
            <a:pPr lvl="0"/>
            <a:r>
              <a:rPr lang="en-GB" dirty="0"/>
              <a:t>Click to edit first level text</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5" name="Straight Connector 4">
            <a:extLst>
              <a:ext uri="{FF2B5EF4-FFF2-40B4-BE49-F238E27FC236}">
                <a16:creationId xmlns:a16="http://schemas.microsoft.com/office/drawing/2014/main" id="{82EC0266-18DE-5343-A8F4-EEB404D872E8}"/>
              </a:ext>
            </a:extLst>
          </p:cNvPr>
          <p:cNvCxnSpPr/>
          <p:nvPr userDrawn="1"/>
        </p:nvCxnSpPr>
        <p:spPr>
          <a:xfrm>
            <a:off x="3998596" y="478359"/>
            <a:ext cx="0" cy="577634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E749A458-8E0A-E44B-82F6-EDA02E27A25C}"/>
              </a:ext>
            </a:extLst>
          </p:cNvPr>
          <p:cNvPicPr>
            <a:picLocks noChangeAspect="1"/>
          </p:cNvPicPr>
          <p:nvPr userDrawn="1"/>
        </p:nvPicPr>
        <p:blipFill>
          <a:blip r:embed="rId6">
            <a:alphaModFix amt="25000"/>
          </a:blip>
          <a:srcRect r="27807"/>
          <a:stretch>
            <a:fillRect/>
          </a:stretch>
        </p:blipFill>
        <p:spPr>
          <a:xfrm flipH="1">
            <a:off x="7391399" y="2857817"/>
            <a:ext cx="4446305" cy="4245379"/>
          </a:xfrm>
          <a:custGeom>
            <a:avLst/>
            <a:gdLst>
              <a:gd name="connsiteX0" fmla="*/ 0 w 5994518"/>
              <a:gd name="connsiteY0" fmla="*/ 0 h 6242845"/>
              <a:gd name="connsiteX1" fmla="*/ 26078 w 5994518"/>
              <a:gd name="connsiteY1" fmla="*/ 0 h 6242845"/>
              <a:gd name="connsiteX2" fmla="*/ 5994518 w 5994518"/>
              <a:gd name="connsiteY2" fmla="*/ 6242845 h 6242845"/>
              <a:gd name="connsiteX3" fmla="*/ 0 w 5994518"/>
              <a:gd name="connsiteY3" fmla="*/ 6242845 h 6242845"/>
            </a:gdLst>
            <a:ahLst/>
            <a:cxnLst>
              <a:cxn ang="0">
                <a:pos x="connsiteX0" y="connsiteY0"/>
              </a:cxn>
              <a:cxn ang="0">
                <a:pos x="connsiteX1" y="connsiteY1"/>
              </a:cxn>
              <a:cxn ang="0">
                <a:pos x="connsiteX2" y="connsiteY2"/>
              </a:cxn>
              <a:cxn ang="0">
                <a:pos x="connsiteX3" y="connsiteY3"/>
              </a:cxn>
            </a:cxnLst>
            <a:rect l="l" t="t" r="r" b="b"/>
            <a:pathLst>
              <a:path w="5994518" h="6242845">
                <a:moveTo>
                  <a:pt x="0" y="0"/>
                </a:moveTo>
                <a:lnTo>
                  <a:pt x="26078" y="0"/>
                </a:lnTo>
                <a:lnTo>
                  <a:pt x="5994518" y="6242845"/>
                </a:lnTo>
                <a:lnTo>
                  <a:pt x="0" y="6242845"/>
                </a:lnTo>
                <a:close/>
              </a:path>
            </a:pathLst>
          </a:custGeom>
        </p:spPr>
      </p:pic>
    </p:spTree>
    <p:extLst>
      <p:ext uri="{BB962C8B-B14F-4D97-AF65-F5344CB8AC3E}">
        <p14:creationId xmlns:p14="http://schemas.microsoft.com/office/powerpoint/2010/main" val="1847621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PRP Content Page">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5812172"/>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43204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11" name="TextBox 10"/>
          <p:cNvSpPr txBox="1"/>
          <p:nvPr userDrawn="1"/>
        </p:nvSpPr>
        <p:spPr>
          <a:xfrm>
            <a:off x="617449" y="889138"/>
            <a:ext cx="3380094" cy="1196171"/>
          </a:xfrm>
          <a:prstGeom prst="rect">
            <a:avLst/>
          </a:prstGeom>
          <a:noFill/>
          <a:ln>
            <a:solidFill>
              <a:schemeClr val="tx1"/>
            </a:solidFill>
          </a:ln>
        </p:spPr>
        <p:txBody>
          <a:bodyPr wrap="square" lIns="599808" tIns="458677" rIns="0" bIns="0" rtlCol="0" anchor="t">
            <a:spAutoFit/>
          </a:bodyPr>
          <a:lstStyle/>
          <a:p>
            <a:pPr>
              <a:lnSpc>
                <a:spcPct val="90000"/>
              </a:lnSpc>
              <a:spcAft>
                <a:spcPts val="588"/>
              </a:spcAft>
            </a:pPr>
            <a:endParaRPr lang="en-US" sz="5293" dirty="0">
              <a:solidFill>
                <a:srgbClr val="333A5E"/>
              </a:solidFill>
            </a:endParaRPr>
          </a:p>
        </p:txBody>
      </p:sp>
      <p:sp>
        <p:nvSpPr>
          <p:cNvPr id="4" name="Text Placeholder 3">
            <a:extLst>
              <a:ext uri="{FF2B5EF4-FFF2-40B4-BE49-F238E27FC236}">
                <a16:creationId xmlns:a16="http://schemas.microsoft.com/office/drawing/2014/main" id="{E1D14662-5EA6-6946-B18A-007366D18E86}"/>
              </a:ext>
            </a:extLst>
          </p:cNvPr>
          <p:cNvSpPr>
            <a:spLocks noGrp="1"/>
          </p:cNvSpPr>
          <p:nvPr>
            <p:ph type="body" sz="quarter" idx="10" hasCustomPrompt="1"/>
          </p:nvPr>
        </p:nvSpPr>
        <p:spPr>
          <a:xfrm>
            <a:off x="4626760" y="889138"/>
            <a:ext cx="5036365" cy="5012380"/>
          </a:xfrm>
        </p:spPr>
        <p:txBody>
          <a:bodyPr>
            <a:normAutofit/>
          </a:bodyPr>
          <a:lstStyle>
            <a:lvl1pPr>
              <a:defRPr sz="2352">
                <a:solidFill>
                  <a:srgbClr val="176739"/>
                </a:solidFill>
              </a:defRPr>
            </a:lvl1pPr>
            <a:lvl2pPr>
              <a:defRPr sz="2352">
                <a:solidFill>
                  <a:srgbClr val="176739"/>
                </a:solidFill>
              </a:defRPr>
            </a:lvl2pPr>
            <a:lvl3pPr>
              <a:defRPr sz="2352">
                <a:solidFill>
                  <a:srgbClr val="176739"/>
                </a:solidFill>
              </a:defRPr>
            </a:lvl3pPr>
            <a:lvl4pPr>
              <a:defRPr sz="2352">
                <a:solidFill>
                  <a:srgbClr val="176739"/>
                </a:solidFill>
              </a:defRPr>
            </a:lvl4pPr>
            <a:lvl5pPr>
              <a:defRPr sz="2352">
                <a:solidFill>
                  <a:srgbClr val="176739"/>
                </a:solidFill>
              </a:defRPr>
            </a:lvl5pPr>
          </a:lstStyle>
          <a:p>
            <a:pPr lvl="0"/>
            <a:r>
              <a:rPr lang="en-GB" dirty="0"/>
              <a:t>Click to edit first level text</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TextBox 1">
            <a:extLst>
              <a:ext uri="{FF2B5EF4-FFF2-40B4-BE49-F238E27FC236}">
                <a16:creationId xmlns:a16="http://schemas.microsoft.com/office/drawing/2014/main" id="{31A8A388-A6D7-A649-92B5-BCAA6FD26AF6}"/>
              </a:ext>
            </a:extLst>
          </p:cNvPr>
          <p:cNvSpPr txBox="1"/>
          <p:nvPr userDrawn="1"/>
        </p:nvSpPr>
        <p:spPr>
          <a:xfrm>
            <a:off x="642139" y="2627729"/>
            <a:ext cx="3215213" cy="780085"/>
          </a:xfrm>
          <a:prstGeom prst="rect">
            <a:avLst/>
          </a:prstGeom>
          <a:noFill/>
        </p:spPr>
        <p:txBody>
          <a:bodyPr wrap="squar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en-US" sz="4704" dirty="0">
                <a:solidFill>
                  <a:srgbClr val="176739"/>
                </a:solidFill>
                <a:latin typeface="Century Gothic" panose="020B0502020202020204" pitchFamily="34" charset="0"/>
              </a:rPr>
              <a:t>Agenda</a:t>
            </a:r>
          </a:p>
        </p:txBody>
      </p:sp>
      <p:cxnSp>
        <p:nvCxnSpPr>
          <p:cNvPr id="17" name="Straight Connector 16">
            <a:extLst>
              <a:ext uri="{FF2B5EF4-FFF2-40B4-BE49-F238E27FC236}">
                <a16:creationId xmlns:a16="http://schemas.microsoft.com/office/drawing/2014/main" id="{652376E7-1A8F-C84C-BAEE-02F6895BABC5}"/>
              </a:ext>
            </a:extLst>
          </p:cNvPr>
          <p:cNvCxnSpPr/>
          <p:nvPr userDrawn="1"/>
        </p:nvCxnSpPr>
        <p:spPr>
          <a:xfrm>
            <a:off x="3998596" y="478359"/>
            <a:ext cx="0" cy="5776347"/>
          </a:xfrm>
          <a:prstGeom prst="line">
            <a:avLst/>
          </a:prstGeom>
          <a:ln w="38100">
            <a:solidFill>
              <a:srgbClr val="176739"/>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621A049F-C806-2C42-A93F-FAFCB9895196}"/>
              </a:ext>
            </a:extLst>
          </p:cNvPr>
          <p:cNvPicPr>
            <a:picLocks noChangeAspect="1"/>
          </p:cNvPicPr>
          <p:nvPr userDrawn="1"/>
        </p:nvPicPr>
        <p:blipFill>
          <a:blip r:embed="rId6"/>
          <a:srcRect r="27807"/>
          <a:stretch>
            <a:fillRect/>
          </a:stretch>
        </p:blipFill>
        <p:spPr>
          <a:xfrm flipH="1">
            <a:off x="7391399" y="2857817"/>
            <a:ext cx="4446305" cy="4245379"/>
          </a:xfrm>
          <a:custGeom>
            <a:avLst/>
            <a:gdLst>
              <a:gd name="connsiteX0" fmla="*/ 0 w 5994518"/>
              <a:gd name="connsiteY0" fmla="*/ 0 h 6242845"/>
              <a:gd name="connsiteX1" fmla="*/ 26078 w 5994518"/>
              <a:gd name="connsiteY1" fmla="*/ 0 h 6242845"/>
              <a:gd name="connsiteX2" fmla="*/ 5994518 w 5994518"/>
              <a:gd name="connsiteY2" fmla="*/ 6242845 h 6242845"/>
              <a:gd name="connsiteX3" fmla="*/ 0 w 5994518"/>
              <a:gd name="connsiteY3" fmla="*/ 6242845 h 6242845"/>
            </a:gdLst>
            <a:ahLst/>
            <a:cxnLst>
              <a:cxn ang="0">
                <a:pos x="connsiteX0" y="connsiteY0"/>
              </a:cxn>
              <a:cxn ang="0">
                <a:pos x="connsiteX1" y="connsiteY1"/>
              </a:cxn>
              <a:cxn ang="0">
                <a:pos x="connsiteX2" y="connsiteY2"/>
              </a:cxn>
              <a:cxn ang="0">
                <a:pos x="connsiteX3" y="connsiteY3"/>
              </a:cxn>
            </a:cxnLst>
            <a:rect l="l" t="t" r="r" b="b"/>
            <a:pathLst>
              <a:path w="5994518" h="6242845">
                <a:moveTo>
                  <a:pt x="0" y="0"/>
                </a:moveTo>
                <a:lnTo>
                  <a:pt x="26078" y="0"/>
                </a:lnTo>
                <a:lnTo>
                  <a:pt x="5994518" y="6242845"/>
                </a:lnTo>
                <a:lnTo>
                  <a:pt x="0" y="6242845"/>
                </a:lnTo>
                <a:close/>
              </a:path>
            </a:pathLst>
          </a:custGeom>
        </p:spPr>
      </p:pic>
      <p:sp>
        <p:nvSpPr>
          <p:cNvPr id="14" name="Slide Number Placeholder 3">
            <a:extLst>
              <a:ext uri="{FF2B5EF4-FFF2-40B4-BE49-F238E27FC236}">
                <a16:creationId xmlns:a16="http://schemas.microsoft.com/office/drawing/2014/main" id="{8EEFF680-5D1C-774D-84D2-F1073DD94BE2}"/>
              </a:ext>
            </a:extLst>
          </p:cNvPr>
          <p:cNvSpPr>
            <a:spLocks noGrp="1"/>
          </p:cNvSpPr>
          <p:nvPr>
            <p:ph type="sldNum" sz="quarter" idx="4"/>
          </p:nvPr>
        </p:nvSpPr>
        <p:spPr>
          <a:xfrm>
            <a:off x="8809038" y="6126163"/>
            <a:ext cx="2689225" cy="331787"/>
          </a:xfrm>
          <a:prstGeom prst="rect">
            <a:avLst/>
          </a:prstGeom>
        </p:spPr>
        <p:txBody>
          <a:bodyPr vert="horz" lIns="91440" tIns="45720" rIns="91440" bIns="45720" rtlCol="0" anchor="ctr"/>
          <a:lstStyle>
            <a:lvl1pPr algn="r">
              <a:defRPr sz="1200">
                <a:solidFill>
                  <a:schemeClr val="bg1">
                    <a:lumMod val="50000"/>
                    <a:lumOff val="50000"/>
                  </a:schemeClr>
                </a:solidFill>
              </a:defRPr>
            </a:lvl1pPr>
          </a:lstStyle>
          <a:p>
            <a:fld id="{3D314921-4E57-464F-A582-181EFAE3A0A8}" type="slidenum">
              <a:rPr lang="en-US" smtClean="0"/>
              <a:pPr/>
              <a:t>‹#›</a:t>
            </a:fld>
            <a:endParaRPr lang="en-US"/>
          </a:p>
        </p:txBody>
      </p:sp>
    </p:spTree>
    <p:extLst>
      <p:ext uri="{BB962C8B-B14F-4D97-AF65-F5344CB8AC3E}">
        <p14:creationId xmlns:p14="http://schemas.microsoft.com/office/powerpoint/2010/main" val="16719410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PRP Disclaimer">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82440183"/>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4330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11" name="TextBox 10"/>
          <p:cNvSpPr txBox="1"/>
          <p:nvPr userDrawn="1"/>
        </p:nvSpPr>
        <p:spPr>
          <a:xfrm>
            <a:off x="617449" y="889138"/>
            <a:ext cx="3380094" cy="1196171"/>
          </a:xfrm>
          <a:prstGeom prst="rect">
            <a:avLst/>
          </a:prstGeom>
          <a:noFill/>
          <a:ln>
            <a:solidFill>
              <a:schemeClr val="tx1"/>
            </a:solidFill>
          </a:ln>
        </p:spPr>
        <p:txBody>
          <a:bodyPr wrap="square" lIns="599808" tIns="458677" rIns="0" bIns="0" rtlCol="0" anchor="t">
            <a:spAutoFit/>
          </a:bodyPr>
          <a:lstStyle/>
          <a:p>
            <a:pPr>
              <a:lnSpc>
                <a:spcPct val="90000"/>
              </a:lnSpc>
              <a:spcAft>
                <a:spcPts val="588"/>
              </a:spcAft>
            </a:pPr>
            <a:endParaRPr lang="en-US" sz="5293" dirty="0">
              <a:solidFill>
                <a:srgbClr val="333A5E"/>
              </a:solidFill>
            </a:endParaRPr>
          </a:p>
        </p:txBody>
      </p:sp>
      <p:sp>
        <p:nvSpPr>
          <p:cNvPr id="4" name="Text Placeholder 3">
            <a:extLst>
              <a:ext uri="{FF2B5EF4-FFF2-40B4-BE49-F238E27FC236}">
                <a16:creationId xmlns:a16="http://schemas.microsoft.com/office/drawing/2014/main" id="{E1D14662-5EA6-6946-B18A-007366D18E86}"/>
              </a:ext>
            </a:extLst>
          </p:cNvPr>
          <p:cNvSpPr>
            <a:spLocks noGrp="1"/>
          </p:cNvSpPr>
          <p:nvPr>
            <p:ph type="body" sz="quarter" idx="10" hasCustomPrompt="1"/>
          </p:nvPr>
        </p:nvSpPr>
        <p:spPr>
          <a:xfrm>
            <a:off x="4626760" y="889138"/>
            <a:ext cx="5036365" cy="5012380"/>
          </a:xfrm>
        </p:spPr>
        <p:txBody>
          <a:bodyPr>
            <a:normAutofit/>
          </a:bodyPr>
          <a:lstStyle>
            <a:lvl1pPr>
              <a:defRPr sz="2352">
                <a:solidFill>
                  <a:schemeClr val="bg1"/>
                </a:solidFill>
              </a:defRPr>
            </a:lvl1pPr>
            <a:lvl2pPr>
              <a:defRPr sz="2352">
                <a:solidFill>
                  <a:schemeClr val="bg1"/>
                </a:solidFill>
              </a:defRPr>
            </a:lvl2pPr>
            <a:lvl3pPr>
              <a:defRPr sz="2352">
                <a:solidFill>
                  <a:schemeClr val="bg1"/>
                </a:solidFill>
              </a:defRPr>
            </a:lvl3pPr>
            <a:lvl4pPr>
              <a:defRPr sz="2352">
                <a:solidFill>
                  <a:schemeClr val="bg1"/>
                </a:solidFill>
              </a:defRPr>
            </a:lvl4pPr>
            <a:lvl5pPr>
              <a:defRPr sz="2352">
                <a:solidFill>
                  <a:schemeClr val="bg1"/>
                </a:solidFill>
              </a:defRPr>
            </a:lvl5pPr>
          </a:lstStyle>
          <a:p>
            <a:pPr lvl="0"/>
            <a:r>
              <a:rPr lang="en-GB" dirty="0"/>
              <a:t>Click to edit first level text</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TextBox 1">
            <a:extLst>
              <a:ext uri="{FF2B5EF4-FFF2-40B4-BE49-F238E27FC236}">
                <a16:creationId xmlns:a16="http://schemas.microsoft.com/office/drawing/2014/main" id="{31A8A388-A6D7-A649-92B5-BCAA6FD26AF6}"/>
              </a:ext>
            </a:extLst>
          </p:cNvPr>
          <p:cNvSpPr txBox="1"/>
          <p:nvPr userDrawn="1"/>
        </p:nvSpPr>
        <p:spPr>
          <a:xfrm>
            <a:off x="786083" y="2971610"/>
            <a:ext cx="3169457" cy="780085"/>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704" dirty="0">
                <a:solidFill>
                  <a:srgbClr val="176739"/>
                </a:solidFill>
                <a:latin typeface="Century Gothic" panose="020B0502020202020204" pitchFamily="34" charset="0"/>
              </a:rPr>
              <a:t>Disclaimer</a:t>
            </a:r>
          </a:p>
        </p:txBody>
      </p:sp>
      <p:cxnSp>
        <p:nvCxnSpPr>
          <p:cNvPr id="17" name="Straight Connector 16">
            <a:extLst>
              <a:ext uri="{FF2B5EF4-FFF2-40B4-BE49-F238E27FC236}">
                <a16:creationId xmlns:a16="http://schemas.microsoft.com/office/drawing/2014/main" id="{652376E7-1A8F-C84C-BAEE-02F6895BABC5}"/>
              </a:ext>
            </a:extLst>
          </p:cNvPr>
          <p:cNvCxnSpPr/>
          <p:nvPr userDrawn="1"/>
        </p:nvCxnSpPr>
        <p:spPr>
          <a:xfrm>
            <a:off x="3998596" y="478359"/>
            <a:ext cx="0" cy="5776347"/>
          </a:xfrm>
          <a:prstGeom prst="line">
            <a:avLst/>
          </a:prstGeom>
          <a:ln w="38100">
            <a:solidFill>
              <a:srgbClr val="176739"/>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C11729EB-6E38-5F44-9CFF-240862DEE582}"/>
              </a:ext>
            </a:extLst>
          </p:cNvPr>
          <p:cNvPicPr>
            <a:picLocks noChangeAspect="1"/>
          </p:cNvPicPr>
          <p:nvPr userDrawn="1"/>
        </p:nvPicPr>
        <p:blipFill>
          <a:blip r:embed="rId6"/>
          <a:srcRect r="27807"/>
          <a:stretch>
            <a:fillRect/>
          </a:stretch>
        </p:blipFill>
        <p:spPr>
          <a:xfrm flipH="1">
            <a:off x="7439972" y="2857817"/>
            <a:ext cx="4446305" cy="4245379"/>
          </a:xfrm>
          <a:custGeom>
            <a:avLst/>
            <a:gdLst>
              <a:gd name="connsiteX0" fmla="*/ 0 w 5994518"/>
              <a:gd name="connsiteY0" fmla="*/ 0 h 6242845"/>
              <a:gd name="connsiteX1" fmla="*/ 26078 w 5994518"/>
              <a:gd name="connsiteY1" fmla="*/ 0 h 6242845"/>
              <a:gd name="connsiteX2" fmla="*/ 5994518 w 5994518"/>
              <a:gd name="connsiteY2" fmla="*/ 6242845 h 6242845"/>
              <a:gd name="connsiteX3" fmla="*/ 0 w 5994518"/>
              <a:gd name="connsiteY3" fmla="*/ 6242845 h 6242845"/>
            </a:gdLst>
            <a:ahLst/>
            <a:cxnLst>
              <a:cxn ang="0">
                <a:pos x="connsiteX0" y="connsiteY0"/>
              </a:cxn>
              <a:cxn ang="0">
                <a:pos x="connsiteX1" y="connsiteY1"/>
              </a:cxn>
              <a:cxn ang="0">
                <a:pos x="connsiteX2" y="connsiteY2"/>
              </a:cxn>
              <a:cxn ang="0">
                <a:pos x="connsiteX3" y="connsiteY3"/>
              </a:cxn>
            </a:cxnLst>
            <a:rect l="l" t="t" r="r" b="b"/>
            <a:pathLst>
              <a:path w="5994518" h="6242845">
                <a:moveTo>
                  <a:pt x="0" y="0"/>
                </a:moveTo>
                <a:lnTo>
                  <a:pt x="26078" y="0"/>
                </a:lnTo>
                <a:lnTo>
                  <a:pt x="5994518" y="6242845"/>
                </a:lnTo>
                <a:lnTo>
                  <a:pt x="0" y="6242845"/>
                </a:lnTo>
                <a:close/>
              </a:path>
            </a:pathLst>
          </a:custGeom>
        </p:spPr>
      </p:pic>
      <p:sp>
        <p:nvSpPr>
          <p:cNvPr id="12" name="Slide Number Placeholder 3">
            <a:extLst>
              <a:ext uri="{FF2B5EF4-FFF2-40B4-BE49-F238E27FC236}">
                <a16:creationId xmlns:a16="http://schemas.microsoft.com/office/drawing/2014/main" id="{2C379090-58A4-AF4D-97F3-5FA8EA91021D}"/>
              </a:ext>
            </a:extLst>
          </p:cNvPr>
          <p:cNvSpPr>
            <a:spLocks noGrp="1"/>
          </p:cNvSpPr>
          <p:nvPr>
            <p:ph type="sldNum" sz="quarter" idx="4"/>
          </p:nvPr>
        </p:nvSpPr>
        <p:spPr>
          <a:xfrm>
            <a:off x="8809038" y="6126163"/>
            <a:ext cx="2689225" cy="331787"/>
          </a:xfrm>
          <a:prstGeom prst="rect">
            <a:avLst/>
          </a:prstGeom>
        </p:spPr>
        <p:txBody>
          <a:bodyPr vert="horz" lIns="91440" tIns="45720" rIns="91440" bIns="45720" rtlCol="0" anchor="ctr"/>
          <a:lstStyle>
            <a:lvl1pPr algn="r">
              <a:defRPr sz="1200">
                <a:solidFill>
                  <a:schemeClr val="bg1">
                    <a:lumMod val="50000"/>
                    <a:lumOff val="50000"/>
                  </a:schemeClr>
                </a:solidFill>
              </a:defRPr>
            </a:lvl1pPr>
          </a:lstStyle>
          <a:p>
            <a:fld id="{3D314921-4E57-464F-A582-181EFAE3A0A8}" type="slidenum">
              <a:rPr lang="en-US" smtClean="0"/>
              <a:pPr/>
              <a:t>‹#›</a:t>
            </a:fld>
            <a:endParaRPr lang="en-US"/>
          </a:p>
        </p:txBody>
      </p:sp>
    </p:spTree>
    <p:extLst>
      <p:ext uri="{BB962C8B-B14F-4D97-AF65-F5344CB8AC3E}">
        <p14:creationId xmlns:p14="http://schemas.microsoft.com/office/powerpoint/2010/main" val="5512224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PPRP Disclaimer">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57727129"/>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21739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11" name="TextBox 10"/>
          <p:cNvSpPr txBox="1"/>
          <p:nvPr userDrawn="1"/>
        </p:nvSpPr>
        <p:spPr>
          <a:xfrm>
            <a:off x="617449" y="889138"/>
            <a:ext cx="3380094" cy="1196171"/>
          </a:xfrm>
          <a:prstGeom prst="rect">
            <a:avLst/>
          </a:prstGeom>
          <a:noFill/>
          <a:ln>
            <a:solidFill>
              <a:schemeClr val="tx1"/>
            </a:solidFill>
          </a:ln>
        </p:spPr>
        <p:txBody>
          <a:bodyPr wrap="square" lIns="599808" tIns="458677" rIns="0" bIns="0" rtlCol="0" anchor="t">
            <a:spAutoFit/>
          </a:bodyPr>
          <a:lstStyle/>
          <a:p>
            <a:pPr>
              <a:lnSpc>
                <a:spcPct val="90000"/>
              </a:lnSpc>
              <a:spcAft>
                <a:spcPts val="588"/>
              </a:spcAft>
            </a:pPr>
            <a:endParaRPr lang="en-US" sz="5293" dirty="0">
              <a:solidFill>
                <a:srgbClr val="333A5E"/>
              </a:solidFill>
            </a:endParaRPr>
          </a:p>
        </p:txBody>
      </p:sp>
      <p:sp>
        <p:nvSpPr>
          <p:cNvPr id="4" name="Text Placeholder 3">
            <a:extLst>
              <a:ext uri="{FF2B5EF4-FFF2-40B4-BE49-F238E27FC236}">
                <a16:creationId xmlns:a16="http://schemas.microsoft.com/office/drawing/2014/main" id="{E1D14662-5EA6-6946-B18A-007366D18E86}"/>
              </a:ext>
            </a:extLst>
          </p:cNvPr>
          <p:cNvSpPr>
            <a:spLocks noGrp="1"/>
          </p:cNvSpPr>
          <p:nvPr>
            <p:ph type="body" sz="quarter" idx="10" hasCustomPrompt="1"/>
          </p:nvPr>
        </p:nvSpPr>
        <p:spPr>
          <a:xfrm>
            <a:off x="4626760" y="889138"/>
            <a:ext cx="5036365" cy="5012380"/>
          </a:xfrm>
        </p:spPr>
        <p:txBody>
          <a:bodyPr>
            <a:normAutofit/>
          </a:bodyPr>
          <a:lstStyle>
            <a:lvl1pPr>
              <a:defRPr sz="2352">
                <a:solidFill>
                  <a:schemeClr val="bg1"/>
                </a:solidFill>
              </a:defRPr>
            </a:lvl1pPr>
            <a:lvl2pPr>
              <a:defRPr sz="2352">
                <a:solidFill>
                  <a:schemeClr val="bg1"/>
                </a:solidFill>
              </a:defRPr>
            </a:lvl2pPr>
            <a:lvl3pPr>
              <a:defRPr sz="2352">
                <a:solidFill>
                  <a:schemeClr val="bg1"/>
                </a:solidFill>
              </a:defRPr>
            </a:lvl3pPr>
            <a:lvl4pPr>
              <a:defRPr sz="2352">
                <a:solidFill>
                  <a:schemeClr val="bg1"/>
                </a:solidFill>
              </a:defRPr>
            </a:lvl4pPr>
            <a:lvl5pPr>
              <a:defRPr sz="2352">
                <a:solidFill>
                  <a:schemeClr val="bg1"/>
                </a:solidFill>
              </a:defRPr>
            </a:lvl5pPr>
          </a:lstStyle>
          <a:p>
            <a:pPr lvl="0"/>
            <a:r>
              <a:rPr lang="en-GB" dirty="0"/>
              <a:t>Click to edit first level text</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17" name="Straight Connector 16">
            <a:extLst>
              <a:ext uri="{FF2B5EF4-FFF2-40B4-BE49-F238E27FC236}">
                <a16:creationId xmlns:a16="http://schemas.microsoft.com/office/drawing/2014/main" id="{652376E7-1A8F-C84C-BAEE-02F6895BABC5}"/>
              </a:ext>
            </a:extLst>
          </p:cNvPr>
          <p:cNvCxnSpPr/>
          <p:nvPr userDrawn="1"/>
        </p:nvCxnSpPr>
        <p:spPr>
          <a:xfrm>
            <a:off x="3998596" y="478359"/>
            <a:ext cx="0" cy="5776347"/>
          </a:xfrm>
          <a:prstGeom prst="line">
            <a:avLst/>
          </a:prstGeom>
          <a:ln w="38100">
            <a:solidFill>
              <a:srgbClr val="176739"/>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C11729EB-6E38-5F44-9CFF-240862DEE582}"/>
              </a:ext>
            </a:extLst>
          </p:cNvPr>
          <p:cNvPicPr>
            <a:picLocks noChangeAspect="1"/>
          </p:cNvPicPr>
          <p:nvPr userDrawn="1"/>
        </p:nvPicPr>
        <p:blipFill>
          <a:blip r:embed="rId6"/>
          <a:srcRect r="27807"/>
          <a:stretch>
            <a:fillRect/>
          </a:stretch>
        </p:blipFill>
        <p:spPr>
          <a:xfrm flipH="1">
            <a:off x="7439972" y="2857817"/>
            <a:ext cx="4446305" cy="4245379"/>
          </a:xfrm>
          <a:custGeom>
            <a:avLst/>
            <a:gdLst>
              <a:gd name="connsiteX0" fmla="*/ 0 w 5994518"/>
              <a:gd name="connsiteY0" fmla="*/ 0 h 6242845"/>
              <a:gd name="connsiteX1" fmla="*/ 26078 w 5994518"/>
              <a:gd name="connsiteY1" fmla="*/ 0 h 6242845"/>
              <a:gd name="connsiteX2" fmla="*/ 5994518 w 5994518"/>
              <a:gd name="connsiteY2" fmla="*/ 6242845 h 6242845"/>
              <a:gd name="connsiteX3" fmla="*/ 0 w 5994518"/>
              <a:gd name="connsiteY3" fmla="*/ 6242845 h 6242845"/>
            </a:gdLst>
            <a:ahLst/>
            <a:cxnLst>
              <a:cxn ang="0">
                <a:pos x="connsiteX0" y="connsiteY0"/>
              </a:cxn>
              <a:cxn ang="0">
                <a:pos x="connsiteX1" y="connsiteY1"/>
              </a:cxn>
              <a:cxn ang="0">
                <a:pos x="connsiteX2" y="connsiteY2"/>
              </a:cxn>
              <a:cxn ang="0">
                <a:pos x="connsiteX3" y="connsiteY3"/>
              </a:cxn>
            </a:cxnLst>
            <a:rect l="l" t="t" r="r" b="b"/>
            <a:pathLst>
              <a:path w="5994518" h="6242845">
                <a:moveTo>
                  <a:pt x="0" y="0"/>
                </a:moveTo>
                <a:lnTo>
                  <a:pt x="26078" y="0"/>
                </a:lnTo>
                <a:lnTo>
                  <a:pt x="5994518" y="6242845"/>
                </a:lnTo>
                <a:lnTo>
                  <a:pt x="0" y="6242845"/>
                </a:lnTo>
                <a:close/>
              </a:path>
            </a:pathLst>
          </a:custGeom>
        </p:spPr>
      </p:pic>
      <p:sp>
        <p:nvSpPr>
          <p:cNvPr id="12" name="Slide Number Placeholder 3">
            <a:extLst>
              <a:ext uri="{FF2B5EF4-FFF2-40B4-BE49-F238E27FC236}">
                <a16:creationId xmlns:a16="http://schemas.microsoft.com/office/drawing/2014/main" id="{2C379090-58A4-AF4D-97F3-5FA8EA91021D}"/>
              </a:ext>
            </a:extLst>
          </p:cNvPr>
          <p:cNvSpPr>
            <a:spLocks noGrp="1"/>
          </p:cNvSpPr>
          <p:nvPr>
            <p:ph type="sldNum" sz="quarter" idx="4"/>
          </p:nvPr>
        </p:nvSpPr>
        <p:spPr>
          <a:xfrm>
            <a:off x="8809038" y="6126163"/>
            <a:ext cx="2689225" cy="331787"/>
          </a:xfrm>
          <a:prstGeom prst="rect">
            <a:avLst/>
          </a:prstGeom>
        </p:spPr>
        <p:txBody>
          <a:bodyPr vert="horz" lIns="91440" tIns="45720" rIns="91440" bIns="45720" rtlCol="0" anchor="ctr"/>
          <a:lstStyle>
            <a:lvl1pPr algn="r">
              <a:defRPr sz="1200">
                <a:solidFill>
                  <a:schemeClr val="bg1">
                    <a:lumMod val="50000"/>
                    <a:lumOff val="50000"/>
                  </a:schemeClr>
                </a:solidFill>
              </a:defRPr>
            </a:lvl1pPr>
          </a:lstStyle>
          <a:p>
            <a:fld id="{3D314921-4E57-464F-A582-181EFAE3A0A8}" type="slidenum">
              <a:rPr lang="en-US" smtClean="0"/>
              <a:pPr/>
              <a:t>‹#›</a:t>
            </a:fld>
            <a:endParaRPr lang="en-US"/>
          </a:p>
        </p:txBody>
      </p:sp>
    </p:spTree>
    <p:extLst>
      <p:ext uri="{BB962C8B-B14F-4D97-AF65-F5344CB8AC3E}">
        <p14:creationId xmlns:p14="http://schemas.microsoft.com/office/powerpoint/2010/main" val="1418399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PPRP Section Break 1">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C9BE1D4-71B8-B94D-9896-943B6EE20DEE}"/>
              </a:ext>
            </a:extLst>
          </p:cNvPr>
          <p:cNvGraphicFramePr>
            <a:graphicFrameLocks noChangeAspect="1"/>
          </p:cNvGraphicFramePr>
          <p:nvPr userDrawn="1">
            <p:custDataLst>
              <p:tags r:id="rId2"/>
            </p:custDataLst>
            <p:extLst>
              <p:ext uri="{D42A27DB-BD31-4B8C-83A1-F6EECF244321}">
                <p14:modId xmlns:p14="http://schemas.microsoft.com/office/powerpoint/2010/main" val="1294177482"/>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465828"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AC9BE1D4-71B8-B94D-9896-943B6EE20DEE}"/>
                          </a:ext>
                        </a:extLst>
                      </p:cNvPr>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4807D38-0625-A645-871A-5B4507B1848E}"/>
              </a:ext>
            </a:extLst>
          </p:cNvPr>
          <p:cNvSpPr/>
          <p:nvPr userDrawn="1"/>
        </p:nvSpPr>
        <p:spPr>
          <a:xfrm>
            <a:off x="611459" y="487565"/>
            <a:ext cx="1552762" cy="1390403"/>
          </a:xfrm>
          <a:prstGeom prst="rect">
            <a:avLst/>
          </a:prstGeom>
          <a:noFill/>
          <a:ln w="38100">
            <a:solidFill>
              <a:srgbClr val="176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a:p>
        </p:txBody>
      </p:sp>
      <p:sp>
        <p:nvSpPr>
          <p:cNvPr id="21" name="Title 20">
            <a:extLst>
              <a:ext uri="{FF2B5EF4-FFF2-40B4-BE49-F238E27FC236}">
                <a16:creationId xmlns:a16="http://schemas.microsoft.com/office/drawing/2014/main" id="{3D0F2904-05C1-2440-93AD-528DF4830A24}"/>
              </a:ext>
            </a:extLst>
          </p:cNvPr>
          <p:cNvSpPr>
            <a:spLocks noGrp="1"/>
          </p:cNvSpPr>
          <p:nvPr>
            <p:ph type="title" hasCustomPrompt="1"/>
          </p:nvPr>
        </p:nvSpPr>
        <p:spPr>
          <a:xfrm>
            <a:off x="611459" y="4560516"/>
            <a:ext cx="10676044" cy="1694190"/>
          </a:xfrm>
          <a:ln w="19050">
            <a:noFill/>
          </a:ln>
        </p:spPr>
        <p:txBody>
          <a:bodyPr anchor="b">
            <a:normAutofit/>
          </a:bodyPr>
          <a:lstStyle>
            <a:lvl1pPr algn="l">
              <a:defRPr sz="5881">
                <a:solidFill>
                  <a:srgbClr val="176739"/>
                </a:solidFill>
              </a:defRPr>
            </a:lvl1pPr>
          </a:lstStyle>
          <a:p>
            <a:r>
              <a:rPr lang="en-US" dirty="0"/>
              <a:t>Click to add section header</a:t>
            </a:r>
          </a:p>
        </p:txBody>
      </p:sp>
      <p:sp>
        <p:nvSpPr>
          <p:cNvPr id="4" name="Text Placeholder 3">
            <a:extLst>
              <a:ext uri="{FF2B5EF4-FFF2-40B4-BE49-F238E27FC236}">
                <a16:creationId xmlns:a16="http://schemas.microsoft.com/office/drawing/2014/main" id="{9CACBB2D-7C52-2B42-BB14-312A1A0735C3}"/>
              </a:ext>
            </a:extLst>
          </p:cNvPr>
          <p:cNvSpPr>
            <a:spLocks noGrp="1"/>
          </p:cNvSpPr>
          <p:nvPr>
            <p:ph type="body" sz="quarter" idx="10" hasCustomPrompt="1"/>
          </p:nvPr>
        </p:nvSpPr>
        <p:spPr>
          <a:xfrm>
            <a:off x="789747" y="626819"/>
            <a:ext cx="1196183" cy="1111893"/>
          </a:xfrm>
        </p:spPr>
        <p:txBody>
          <a:bodyPr anchor="ctr"/>
          <a:lstStyle>
            <a:lvl1pPr marL="0" indent="0" algn="ctr">
              <a:buNone/>
              <a:defRPr>
                <a:solidFill>
                  <a:srgbClr val="176739"/>
                </a:solidFill>
              </a:defRPr>
            </a:lvl1pPr>
          </a:lstStyle>
          <a:p>
            <a:pPr lvl="0"/>
            <a:r>
              <a:rPr lang="en-US" dirty="0"/>
              <a:t>Click to add text or icon</a:t>
            </a:r>
          </a:p>
        </p:txBody>
      </p:sp>
      <p:cxnSp>
        <p:nvCxnSpPr>
          <p:cNvPr id="7" name="Straight Connector 6">
            <a:extLst>
              <a:ext uri="{FF2B5EF4-FFF2-40B4-BE49-F238E27FC236}">
                <a16:creationId xmlns:a16="http://schemas.microsoft.com/office/drawing/2014/main" id="{C17FAB43-0CF9-DB45-89E5-392B92945C4A}"/>
              </a:ext>
            </a:extLst>
          </p:cNvPr>
          <p:cNvCxnSpPr>
            <a:cxnSpLocks/>
          </p:cNvCxnSpPr>
          <p:nvPr userDrawn="1"/>
        </p:nvCxnSpPr>
        <p:spPr>
          <a:xfrm>
            <a:off x="611459" y="4560504"/>
            <a:ext cx="10726196" cy="0"/>
          </a:xfrm>
          <a:prstGeom prst="line">
            <a:avLst/>
          </a:prstGeom>
          <a:ln w="38100">
            <a:solidFill>
              <a:srgbClr val="176739"/>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34EAA13D-A377-ED4D-A415-00ADAD4B8943}"/>
              </a:ext>
            </a:extLst>
          </p:cNvPr>
          <p:cNvPicPr>
            <a:picLocks noChangeAspect="1"/>
          </p:cNvPicPr>
          <p:nvPr userDrawn="1"/>
        </p:nvPicPr>
        <p:blipFill>
          <a:blip r:embed="rId6"/>
          <a:srcRect r="27807"/>
          <a:stretch>
            <a:fillRect/>
          </a:stretch>
        </p:blipFill>
        <p:spPr>
          <a:xfrm flipH="1" flipV="1">
            <a:off x="7391399" y="0"/>
            <a:ext cx="4446305" cy="4245379"/>
          </a:xfrm>
          <a:custGeom>
            <a:avLst/>
            <a:gdLst>
              <a:gd name="connsiteX0" fmla="*/ 0 w 5994518"/>
              <a:gd name="connsiteY0" fmla="*/ 0 h 6242845"/>
              <a:gd name="connsiteX1" fmla="*/ 26078 w 5994518"/>
              <a:gd name="connsiteY1" fmla="*/ 0 h 6242845"/>
              <a:gd name="connsiteX2" fmla="*/ 5994518 w 5994518"/>
              <a:gd name="connsiteY2" fmla="*/ 6242845 h 6242845"/>
              <a:gd name="connsiteX3" fmla="*/ 0 w 5994518"/>
              <a:gd name="connsiteY3" fmla="*/ 6242845 h 6242845"/>
            </a:gdLst>
            <a:ahLst/>
            <a:cxnLst>
              <a:cxn ang="0">
                <a:pos x="connsiteX0" y="connsiteY0"/>
              </a:cxn>
              <a:cxn ang="0">
                <a:pos x="connsiteX1" y="connsiteY1"/>
              </a:cxn>
              <a:cxn ang="0">
                <a:pos x="connsiteX2" y="connsiteY2"/>
              </a:cxn>
              <a:cxn ang="0">
                <a:pos x="connsiteX3" y="connsiteY3"/>
              </a:cxn>
            </a:cxnLst>
            <a:rect l="l" t="t" r="r" b="b"/>
            <a:pathLst>
              <a:path w="5994518" h="6242845">
                <a:moveTo>
                  <a:pt x="0" y="0"/>
                </a:moveTo>
                <a:lnTo>
                  <a:pt x="26078" y="0"/>
                </a:lnTo>
                <a:lnTo>
                  <a:pt x="5994518" y="6242845"/>
                </a:lnTo>
                <a:lnTo>
                  <a:pt x="0" y="6242845"/>
                </a:lnTo>
                <a:close/>
              </a:path>
            </a:pathLst>
          </a:custGeom>
        </p:spPr>
      </p:pic>
      <p:sp>
        <p:nvSpPr>
          <p:cNvPr id="11" name="Slide Number Placeholder 3">
            <a:extLst>
              <a:ext uri="{FF2B5EF4-FFF2-40B4-BE49-F238E27FC236}">
                <a16:creationId xmlns:a16="http://schemas.microsoft.com/office/drawing/2014/main" id="{AF715981-B86A-3046-A877-9C0E42A28DF7}"/>
              </a:ext>
            </a:extLst>
          </p:cNvPr>
          <p:cNvSpPr>
            <a:spLocks noGrp="1"/>
          </p:cNvSpPr>
          <p:nvPr>
            <p:ph type="sldNum" sz="quarter" idx="4"/>
          </p:nvPr>
        </p:nvSpPr>
        <p:spPr>
          <a:xfrm>
            <a:off x="8809038" y="6126163"/>
            <a:ext cx="2689225" cy="331787"/>
          </a:xfrm>
          <a:prstGeom prst="rect">
            <a:avLst/>
          </a:prstGeom>
        </p:spPr>
        <p:txBody>
          <a:bodyPr vert="horz" lIns="91440" tIns="45720" rIns="91440" bIns="45720" rtlCol="0" anchor="ctr"/>
          <a:lstStyle>
            <a:lvl1pPr algn="r">
              <a:defRPr sz="1200">
                <a:solidFill>
                  <a:schemeClr val="tx1">
                    <a:tint val="75000"/>
                  </a:schemeClr>
                </a:solidFill>
              </a:defRPr>
            </a:lvl1pPr>
          </a:lstStyle>
          <a:p>
            <a:fld id="{3D314921-4E57-464F-A582-181EFAE3A0A8}" type="slidenum">
              <a:rPr lang="en-US" smtClean="0"/>
              <a:t>‹#›</a:t>
            </a:fld>
            <a:endParaRPr lang="en-US"/>
          </a:p>
        </p:txBody>
      </p:sp>
    </p:spTree>
    <p:extLst>
      <p:ext uri="{BB962C8B-B14F-4D97-AF65-F5344CB8AC3E}">
        <p14:creationId xmlns:p14="http://schemas.microsoft.com/office/powerpoint/2010/main" val="3614944017"/>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PPRP Section Break 2">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C9BE1D4-71B8-B94D-9896-943B6EE20DEE}"/>
              </a:ext>
            </a:extLst>
          </p:cNvPr>
          <p:cNvGraphicFramePr>
            <a:graphicFrameLocks noChangeAspect="1"/>
          </p:cNvGraphicFramePr>
          <p:nvPr userDrawn="1">
            <p:custDataLst>
              <p:tags r:id="rId2"/>
            </p:custDataLst>
            <p:extLst>
              <p:ext uri="{D42A27DB-BD31-4B8C-83A1-F6EECF244321}">
                <p14:modId xmlns:p14="http://schemas.microsoft.com/office/powerpoint/2010/main" val="2356312267"/>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466852"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AC9BE1D4-71B8-B94D-9896-943B6EE20DEE}"/>
                          </a:ext>
                        </a:extLst>
                      </p:cNvPr>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05510406-25B7-8844-A49D-A946CB55D4EC}"/>
              </a:ext>
            </a:extLst>
          </p:cNvPr>
          <p:cNvSpPr/>
          <p:nvPr userDrawn="1"/>
        </p:nvSpPr>
        <p:spPr>
          <a:xfrm>
            <a:off x="-33901" y="1"/>
            <a:ext cx="11983014" cy="6721474"/>
          </a:xfrm>
          <a:prstGeom prst="rect">
            <a:avLst/>
          </a:prstGeom>
          <a:solidFill>
            <a:srgbClr val="176739"/>
          </a:solidFill>
          <a:ln>
            <a:solidFill>
              <a:srgbClr val="176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a:p>
        </p:txBody>
      </p:sp>
      <p:sp>
        <p:nvSpPr>
          <p:cNvPr id="21" name="Title 20">
            <a:extLst>
              <a:ext uri="{FF2B5EF4-FFF2-40B4-BE49-F238E27FC236}">
                <a16:creationId xmlns:a16="http://schemas.microsoft.com/office/drawing/2014/main" id="{3D0F2904-05C1-2440-93AD-528DF4830A24}"/>
              </a:ext>
            </a:extLst>
          </p:cNvPr>
          <p:cNvSpPr>
            <a:spLocks noGrp="1"/>
          </p:cNvSpPr>
          <p:nvPr>
            <p:ph type="title" hasCustomPrompt="1"/>
          </p:nvPr>
        </p:nvSpPr>
        <p:spPr>
          <a:xfrm>
            <a:off x="584823" y="4489929"/>
            <a:ext cx="10752832" cy="1743981"/>
          </a:xfrm>
          <a:ln w="19050">
            <a:noFill/>
          </a:ln>
        </p:spPr>
        <p:txBody>
          <a:bodyPr anchor="b">
            <a:normAutofit/>
          </a:bodyPr>
          <a:lstStyle>
            <a:lvl1pPr algn="l">
              <a:defRPr sz="5881">
                <a:solidFill>
                  <a:schemeClr val="bg1"/>
                </a:solidFill>
              </a:defRPr>
            </a:lvl1pPr>
          </a:lstStyle>
          <a:p>
            <a:r>
              <a:rPr lang="en-US" dirty="0"/>
              <a:t>Click to add section header</a:t>
            </a:r>
          </a:p>
        </p:txBody>
      </p:sp>
      <p:sp>
        <p:nvSpPr>
          <p:cNvPr id="4" name="Text Placeholder 3">
            <a:extLst>
              <a:ext uri="{FF2B5EF4-FFF2-40B4-BE49-F238E27FC236}">
                <a16:creationId xmlns:a16="http://schemas.microsoft.com/office/drawing/2014/main" id="{9CACBB2D-7C52-2B42-BB14-312A1A0735C3}"/>
              </a:ext>
            </a:extLst>
          </p:cNvPr>
          <p:cNvSpPr>
            <a:spLocks noGrp="1"/>
          </p:cNvSpPr>
          <p:nvPr>
            <p:ph type="body" sz="quarter" idx="10" hasCustomPrompt="1"/>
          </p:nvPr>
        </p:nvSpPr>
        <p:spPr>
          <a:xfrm>
            <a:off x="791870" y="602540"/>
            <a:ext cx="1170017" cy="1087572"/>
          </a:xfrm>
        </p:spPr>
        <p:txBody>
          <a:bodyPr anchor="ctr"/>
          <a:lstStyle>
            <a:lvl1pPr marL="0" indent="0" algn="ctr">
              <a:buNone/>
              <a:defRPr>
                <a:solidFill>
                  <a:schemeClr val="bg1"/>
                </a:solidFill>
              </a:defRPr>
            </a:lvl1pPr>
          </a:lstStyle>
          <a:p>
            <a:pPr lvl="0"/>
            <a:r>
              <a:rPr lang="en-US" dirty="0"/>
              <a:t>Click to add text or icon</a:t>
            </a:r>
          </a:p>
        </p:txBody>
      </p:sp>
      <p:sp>
        <p:nvSpPr>
          <p:cNvPr id="15" name="Rectangle 14">
            <a:extLst>
              <a:ext uri="{FF2B5EF4-FFF2-40B4-BE49-F238E27FC236}">
                <a16:creationId xmlns:a16="http://schemas.microsoft.com/office/drawing/2014/main" id="{E69B57D3-E571-3942-B9AE-EFC26E50B87F}"/>
              </a:ext>
            </a:extLst>
          </p:cNvPr>
          <p:cNvSpPr/>
          <p:nvPr userDrawn="1"/>
        </p:nvSpPr>
        <p:spPr>
          <a:xfrm>
            <a:off x="611459" y="451126"/>
            <a:ext cx="1552762" cy="1390403"/>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a:p>
        </p:txBody>
      </p:sp>
      <p:cxnSp>
        <p:nvCxnSpPr>
          <p:cNvPr id="16" name="Straight Connector 15">
            <a:extLst>
              <a:ext uri="{FF2B5EF4-FFF2-40B4-BE49-F238E27FC236}">
                <a16:creationId xmlns:a16="http://schemas.microsoft.com/office/drawing/2014/main" id="{0BB94451-2706-7F4D-A55F-8FA2AF743340}"/>
              </a:ext>
            </a:extLst>
          </p:cNvPr>
          <p:cNvCxnSpPr>
            <a:cxnSpLocks/>
          </p:cNvCxnSpPr>
          <p:nvPr userDrawn="1"/>
        </p:nvCxnSpPr>
        <p:spPr>
          <a:xfrm>
            <a:off x="611459" y="4489929"/>
            <a:ext cx="10726196"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6CAA881E-51E5-2F4E-A516-CEB662DB4220}"/>
              </a:ext>
            </a:extLst>
          </p:cNvPr>
          <p:cNvPicPr>
            <a:picLocks noChangeAspect="1"/>
          </p:cNvPicPr>
          <p:nvPr userDrawn="1"/>
        </p:nvPicPr>
        <p:blipFill>
          <a:blip r:embed="rId6">
            <a:alphaModFix amt="30000"/>
          </a:blip>
          <a:srcRect r="27807"/>
          <a:stretch>
            <a:fillRect/>
          </a:stretch>
        </p:blipFill>
        <p:spPr>
          <a:xfrm flipH="1" flipV="1">
            <a:off x="7391399" y="0"/>
            <a:ext cx="4446305" cy="4245379"/>
          </a:xfrm>
          <a:custGeom>
            <a:avLst/>
            <a:gdLst>
              <a:gd name="connsiteX0" fmla="*/ 0 w 5994518"/>
              <a:gd name="connsiteY0" fmla="*/ 0 h 6242845"/>
              <a:gd name="connsiteX1" fmla="*/ 26078 w 5994518"/>
              <a:gd name="connsiteY1" fmla="*/ 0 h 6242845"/>
              <a:gd name="connsiteX2" fmla="*/ 5994518 w 5994518"/>
              <a:gd name="connsiteY2" fmla="*/ 6242845 h 6242845"/>
              <a:gd name="connsiteX3" fmla="*/ 0 w 5994518"/>
              <a:gd name="connsiteY3" fmla="*/ 6242845 h 6242845"/>
            </a:gdLst>
            <a:ahLst/>
            <a:cxnLst>
              <a:cxn ang="0">
                <a:pos x="connsiteX0" y="connsiteY0"/>
              </a:cxn>
              <a:cxn ang="0">
                <a:pos x="connsiteX1" y="connsiteY1"/>
              </a:cxn>
              <a:cxn ang="0">
                <a:pos x="connsiteX2" y="connsiteY2"/>
              </a:cxn>
              <a:cxn ang="0">
                <a:pos x="connsiteX3" y="connsiteY3"/>
              </a:cxn>
            </a:cxnLst>
            <a:rect l="l" t="t" r="r" b="b"/>
            <a:pathLst>
              <a:path w="5994518" h="6242845">
                <a:moveTo>
                  <a:pt x="0" y="0"/>
                </a:moveTo>
                <a:lnTo>
                  <a:pt x="26078" y="0"/>
                </a:lnTo>
                <a:lnTo>
                  <a:pt x="5994518" y="6242845"/>
                </a:lnTo>
                <a:lnTo>
                  <a:pt x="0" y="6242845"/>
                </a:lnTo>
                <a:close/>
              </a:path>
            </a:pathLst>
          </a:custGeom>
        </p:spPr>
      </p:pic>
      <p:sp>
        <p:nvSpPr>
          <p:cNvPr id="19" name="Slide Number Placeholder 3">
            <a:extLst>
              <a:ext uri="{FF2B5EF4-FFF2-40B4-BE49-F238E27FC236}">
                <a16:creationId xmlns:a16="http://schemas.microsoft.com/office/drawing/2014/main" id="{2AC5F010-EC35-4945-9A16-914FE7035BA1}"/>
              </a:ext>
            </a:extLst>
          </p:cNvPr>
          <p:cNvSpPr>
            <a:spLocks noGrp="1"/>
          </p:cNvSpPr>
          <p:nvPr>
            <p:ph type="sldNum" sz="quarter" idx="4"/>
          </p:nvPr>
        </p:nvSpPr>
        <p:spPr>
          <a:xfrm>
            <a:off x="8809038" y="6126163"/>
            <a:ext cx="2689225" cy="331787"/>
          </a:xfrm>
          <a:prstGeom prst="rect">
            <a:avLst/>
          </a:prstGeom>
        </p:spPr>
        <p:txBody>
          <a:bodyPr vert="horz" lIns="91440" tIns="45720" rIns="91440" bIns="45720" rtlCol="0" anchor="ctr"/>
          <a:lstStyle>
            <a:lvl1pPr algn="r">
              <a:defRPr sz="1200">
                <a:solidFill>
                  <a:schemeClr val="tx1">
                    <a:tint val="75000"/>
                  </a:schemeClr>
                </a:solidFill>
              </a:defRPr>
            </a:lvl1pPr>
          </a:lstStyle>
          <a:p>
            <a:fld id="{3D314921-4E57-464F-A582-181EFAE3A0A8}" type="slidenum">
              <a:rPr lang="en-US" smtClean="0"/>
              <a:t>‹#›</a:t>
            </a:fld>
            <a:endParaRPr lang="en-US"/>
          </a:p>
        </p:txBody>
      </p:sp>
    </p:spTree>
    <p:extLst>
      <p:ext uri="{BB962C8B-B14F-4D97-AF65-F5344CB8AC3E}">
        <p14:creationId xmlns:p14="http://schemas.microsoft.com/office/powerpoint/2010/main" val="17076788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8.xml"/><Relationship Id="rId21" Type="http://schemas.openxmlformats.org/officeDocument/2006/relationships/slideLayout" Target="../slideLayouts/slideLayout21.xml"/><Relationship Id="rId34" Type="http://schemas.openxmlformats.org/officeDocument/2006/relationships/tags" Target="../tags/tag3.xml"/><Relationship Id="rId42" Type="http://schemas.openxmlformats.org/officeDocument/2006/relationships/tags" Target="../tags/tag11.xml"/><Relationship Id="rId47" Type="http://schemas.openxmlformats.org/officeDocument/2006/relationships/tags" Target="../tags/tag16.xml"/><Relationship Id="rId50"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37" Type="http://schemas.openxmlformats.org/officeDocument/2006/relationships/tags" Target="../tags/tag6.xml"/><Relationship Id="rId40" Type="http://schemas.openxmlformats.org/officeDocument/2006/relationships/tags" Target="../tags/tag9.xml"/><Relationship Id="rId45" Type="http://schemas.openxmlformats.org/officeDocument/2006/relationships/tags" Target="../tags/tag1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5.xml"/><Relationship Id="rId49" Type="http://schemas.openxmlformats.org/officeDocument/2006/relationships/tags" Target="../tags/tag1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4"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4.xml"/><Relationship Id="rId43" Type="http://schemas.openxmlformats.org/officeDocument/2006/relationships/tags" Target="../tags/tag12.xml"/><Relationship Id="rId48" Type="http://schemas.openxmlformats.org/officeDocument/2006/relationships/tags" Target="../tags/tag17.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38" Type="http://schemas.openxmlformats.org/officeDocument/2006/relationships/tags" Target="../tags/tag7.xml"/><Relationship Id="rId46" Type="http://schemas.openxmlformats.org/officeDocument/2006/relationships/tags" Target="../tags/tag15.xml"/><Relationship Id="rId20" Type="http://schemas.openxmlformats.org/officeDocument/2006/relationships/slideLayout" Target="../slideLayouts/slideLayout20.xml"/><Relationship Id="rId41"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3"/>
            </p:custDataLst>
            <p:extLst>
              <p:ext uri="{D42A27DB-BD31-4B8C-83A1-F6EECF244321}">
                <p14:modId xmlns:p14="http://schemas.microsoft.com/office/powerpoint/2010/main" val="3458528964"/>
              </p:ex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2076742" name="think-cell Slide" r:id="rId50" imgW="270" imgH="270" progId="TCLayout.ActiveDocument.1">
                  <p:embed/>
                </p:oleObj>
              </mc:Choice>
              <mc:Fallback>
                <p:oleObj name="think-cell Slide" r:id="rId50" imgW="270" imgH="270" progId="TCLayout.ActiveDocument.1">
                  <p:embed/>
                  <p:pic>
                    <p:nvPicPr>
                      <p:cNvPr id="2" name="Object 1" hidden="1"/>
                      <p:cNvPicPr/>
                      <p:nvPr/>
                    </p:nvPicPr>
                    <p:blipFill>
                      <a:blip r:embed="rId51"/>
                      <a:stretch>
                        <a:fillRect/>
                      </a:stretch>
                    </p:blipFill>
                    <p:spPr>
                      <a:xfrm>
                        <a:off x="0" y="0"/>
                        <a:ext cx="211676" cy="158750"/>
                      </a:xfrm>
                      <a:prstGeom prst="rect">
                        <a:avLst/>
                      </a:prstGeom>
                    </p:spPr>
                  </p:pic>
                </p:oleObj>
              </mc:Fallback>
            </mc:AlternateContent>
          </a:graphicData>
        </a:graphic>
      </p:graphicFrame>
      <p:sp>
        <p:nvSpPr>
          <p:cNvPr id="6" name="Rectangle 5" hidden="1"/>
          <p:cNvSpPr/>
          <p:nvPr>
            <p:custDataLst>
              <p:tags r:id="rId34"/>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4" name="Working Draft" hidden="1"/>
          <p:cNvSpPr txBox="1">
            <a:spLocks noChangeArrowheads="1"/>
          </p:cNvSpPr>
          <p:nvPr/>
        </p:nvSpPr>
        <p:spPr bwMode="gray">
          <a:xfrm rot="5400000">
            <a:off x="10724255" y="1940592"/>
            <a:ext cx="226344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a:solidFill>
                  <a:schemeClr val="accent6"/>
                </a:solidFill>
                <a:latin typeface="+mn-lt"/>
                <a:ea typeface="+mn-ea"/>
              </a:rPr>
              <a:t>Last Modified 2020/03/08 22:31 W. Central Africa Standard Time</a:t>
            </a:r>
            <a:endParaRPr lang="en-US"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1733346" y="4114418"/>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dirty="0">
                <a:solidFill>
                  <a:schemeClr val="accent6"/>
                </a:solidFill>
                <a:latin typeface="+mn-lt"/>
                <a:ea typeface="+mn-ea"/>
              </a:rPr>
              <a:t>Printed</a:t>
            </a:r>
          </a:p>
        </p:txBody>
      </p:sp>
      <p:sp>
        <p:nvSpPr>
          <p:cNvPr id="19" name="Title Placeholder 2"/>
          <p:cNvSpPr>
            <a:spLocks noGrp="1" noChangeArrowheads="1"/>
          </p:cNvSpPr>
          <p:nvPr>
            <p:ph type="title"/>
          </p:nvPr>
        </p:nvSpPr>
        <p:spPr bwMode="gray">
          <a:xfrm>
            <a:off x="445770" y="230189"/>
            <a:ext cx="1104138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Subtitle</a:t>
            </a:r>
          </a:p>
        </p:txBody>
      </p:sp>
      <p:sp>
        <p:nvSpPr>
          <p:cNvPr id="13" name="4. Footnote" hidden="1"/>
          <p:cNvSpPr txBox="1">
            <a:spLocks noChangeArrowheads="1"/>
          </p:cNvSpPr>
          <p:nvPr/>
        </p:nvSpPr>
        <p:spPr bwMode="gray">
          <a:xfrm>
            <a:off x="158758" y="6305945"/>
            <a:ext cx="11398754"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nvGrpSpPr>
          <p:cNvPr id="15" name="ACET" hidden="1"/>
          <p:cNvGrpSpPr>
            <a:grpSpLocks/>
          </p:cNvGrpSpPr>
          <p:nvPr/>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Sticker" hidden="1"/>
          <p:cNvGrpSpPr/>
          <p:nvPr/>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5" name="SlideBottomBar" hidden="1"/>
          <p:cNvSpPr/>
          <p:nvPr/>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24" name="doc id" hidden="1"/>
          <p:cNvSpPr>
            <a:spLocks noChangeArrowheads="1"/>
          </p:cNvSpPr>
          <p:nvPr/>
        </p:nvSpPr>
        <p:spPr bwMode="gray">
          <a:xfrm>
            <a:off x="10457645" y="50801"/>
            <a:ext cx="11664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en-US" sz="600" baseline="0" dirty="0">
              <a:solidFill>
                <a:srgbClr val="808080"/>
              </a:solidFill>
              <a:latin typeface="+mn-lt"/>
              <a:ea typeface="+mn-ea"/>
            </a:endParaRPr>
          </a:p>
        </p:txBody>
      </p:sp>
      <p:grpSp>
        <p:nvGrpSpPr>
          <p:cNvPr id="25" name="LegendBoxes" hidden="1"/>
          <p:cNvGrpSpPr/>
          <p:nvPr/>
        </p:nvGrpSpPr>
        <p:grpSpPr bwMode="gray">
          <a:xfrm>
            <a:off x="10886895" y="279400"/>
            <a:ext cx="763755" cy="997467"/>
            <a:chOff x="7835905" y="279400"/>
            <a:chExt cx="763755" cy="997467"/>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9"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30"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2"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3"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4" name="LegendLines" hidden="1"/>
          <p:cNvGrpSpPr/>
          <p:nvPr/>
        </p:nvGrpSpPr>
        <p:grpSpPr bwMode="gray">
          <a:xfrm>
            <a:off x="10579087" y="279400"/>
            <a:ext cx="1071563" cy="730251"/>
            <a:chOff x="7540629" y="279400"/>
            <a:chExt cx="1071563" cy="730251"/>
          </a:xfrm>
        </p:grpSpPr>
        <p:sp>
          <p:nvSpPr>
            <p:cNvPr id="35"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8"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9"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0"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41" name="LegendMoons" hidden="1"/>
          <p:cNvGrpSpPr/>
          <p:nvPr/>
        </p:nvGrpSpPr>
        <p:grpSpPr bwMode="gray">
          <a:xfrm>
            <a:off x="10820220" y="250825"/>
            <a:ext cx="830430" cy="1306516"/>
            <a:chOff x="7769225" y="250825"/>
            <a:chExt cx="830430" cy="1306516"/>
          </a:xfrm>
        </p:grpSpPr>
        <p:grpSp>
          <p:nvGrpSpPr>
            <p:cNvPr id="42" name="MoonLegend1"/>
            <p:cNvGrpSpPr>
              <a:grpSpLocks noChangeAspect="1"/>
            </p:cNvGrpSpPr>
            <p:nvPr>
              <p:custDataLst>
                <p:tags r:id="rId35"/>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48"/>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61" name="Arc 39"/>
              <p:cNvSpPr>
                <a:spLocks noChangeAspect="1"/>
              </p:cNvSpPr>
              <p:nvPr>
                <p:custDataLst>
                  <p:tags r:id="rId49"/>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2"/>
            <p:cNvGrpSpPr>
              <a:grpSpLocks noChangeAspect="1"/>
            </p:cNvGrpSpPr>
            <p:nvPr>
              <p:custDataLst>
                <p:tags r:id="rId36"/>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46"/>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42"/>
              <p:cNvSpPr>
                <a:spLocks noChangeAspect="1"/>
              </p:cNvSpPr>
              <p:nvPr>
                <p:custDataLst>
                  <p:tags r:id="rId47"/>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4"/>
            <p:cNvGrpSpPr>
              <a:grpSpLocks noChangeAspect="1"/>
            </p:cNvGrpSpPr>
            <p:nvPr>
              <p:custDataLst>
                <p:tags r:id="rId37"/>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44"/>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8"/>
              <p:cNvSpPr>
                <a:spLocks noChangeAspect="1"/>
              </p:cNvSpPr>
              <p:nvPr>
                <p:custDataLst>
                  <p:tags r:id="rId45"/>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5" name="MoonLegend5"/>
            <p:cNvGrpSpPr>
              <a:grpSpLocks noChangeAspect="1"/>
            </p:cNvGrpSpPr>
            <p:nvPr>
              <p:custDataLst>
                <p:tags r:id="rId38"/>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42"/>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Oval 51"/>
              <p:cNvSpPr>
                <a:spLocks noChangeAspect="1" noChangeArrowheads="1"/>
              </p:cNvSpPr>
              <p:nvPr>
                <p:custDataLst>
                  <p:tags r:id="rId43"/>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6" name="MoonLegend3"/>
            <p:cNvGrpSpPr>
              <a:grpSpLocks noChangeAspect="1"/>
            </p:cNvGrpSpPr>
            <p:nvPr>
              <p:custDataLst>
                <p:tags r:id="rId39"/>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40"/>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Arc 48"/>
              <p:cNvSpPr>
                <a:spLocks noChangeAspect="1"/>
              </p:cNvSpPr>
              <p:nvPr>
                <p:custDataLst>
                  <p:tags r:id="rId41"/>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7" name="Legend1"/>
            <p:cNvSpPr>
              <a:spLocks noChangeArrowheads="1"/>
            </p:cNvSpPr>
            <p:nvPr/>
          </p:nvSpPr>
          <p:spPr bwMode="gray">
            <a:xfrm>
              <a:off x="8089900" y="26352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2"/>
            <p:cNvSpPr>
              <a:spLocks noChangeArrowheads="1"/>
            </p:cNvSpPr>
            <p:nvPr/>
          </p:nvSpPr>
          <p:spPr bwMode="gray">
            <a:xfrm>
              <a:off x="8089900" y="538163"/>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3"/>
            <p:cNvSpPr>
              <a:spLocks noChangeArrowheads="1"/>
            </p:cNvSpPr>
            <p:nvPr/>
          </p:nvSpPr>
          <p:spPr bwMode="gray">
            <a:xfrm>
              <a:off x="8089900" y="812802"/>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0" name="Legend4"/>
            <p:cNvSpPr>
              <a:spLocks noChangeArrowheads="1"/>
            </p:cNvSpPr>
            <p:nvPr/>
          </p:nvSpPr>
          <p:spPr bwMode="gray">
            <a:xfrm>
              <a:off x="8089900" y="108426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1" name="Legend5"/>
            <p:cNvSpPr>
              <a:spLocks noChangeArrowheads="1"/>
            </p:cNvSpPr>
            <p:nvPr/>
          </p:nvSpPr>
          <p:spPr bwMode="gray">
            <a:xfrm>
              <a:off x="8089900" y="136049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2" name="Text Placeholder 2"/>
          <p:cNvSpPr>
            <a:spLocks noGrp="1"/>
          </p:cNvSpPr>
          <p:nvPr>
            <p:ph type="body" idx="1"/>
          </p:nvPr>
        </p:nvSpPr>
        <p:spPr bwMode="gray">
          <a:xfrm>
            <a:off x="434975" y="1073547"/>
            <a:ext cx="11041380" cy="5035153"/>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
        <p:nvSpPr>
          <p:cNvPr id="4" name="Slide Number Placeholder 3">
            <a:extLst>
              <a:ext uri="{FF2B5EF4-FFF2-40B4-BE49-F238E27FC236}">
                <a16:creationId xmlns:a16="http://schemas.microsoft.com/office/drawing/2014/main" id="{67C4E6E5-6541-EC4A-9826-402A3FA6B2D7}"/>
              </a:ext>
            </a:extLst>
          </p:cNvPr>
          <p:cNvSpPr>
            <a:spLocks noGrp="1"/>
          </p:cNvSpPr>
          <p:nvPr>
            <p:ph type="sldNum" sz="quarter" idx="4"/>
          </p:nvPr>
        </p:nvSpPr>
        <p:spPr>
          <a:xfrm>
            <a:off x="8809038" y="6126163"/>
            <a:ext cx="2689225" cy="331787"/>
          </a:xfrm>
          <a:prstGeom prst="rect">
            <a:avLst/>
          </a:prstGeom>
        </p:spPr>
        <p:txBody>
          <a:bodyPr vert="horz" lIns="91440" tIns="45720" rIns="91440" bIns="45720" rtlCol="0" anchor="ctr"/>
          <a:lstStyle>
            <a:lvl1pPr algn="r">
              <a:defRPr sz="1200">
                <a:solidFill>
                  <a:schemeClr val="tx1">
                    <a:tint val="75000"/>
                  </a:schemeClr>
                </a:solidFill>
              </a:defRPr>
            </a:lvl1pPr>
          </a:lstStyle>
          <a:p>
            <a:fld id="{3D314921-4E57-464F-A582-181EFAE3A0A8}" type="slidenum">
              <a:rPr lang="en-US" smtClean="0"/>
              <a:t>‹#›</a:t>
            </a:fld>
            <a:endParaRPr lang="en-US"/>
          </a:p>
        </p:txBody>
      </p:sp>
    </p:spTree>
    <p:extLst>
      <p:ext uri="{BB962C8B-B14F-4D97-AF65-F5344CB8AC3E}">
        <p14:creationId xmlns:p14="http://schemas.microsoft.com/office/powerpoint/2010/main" val="3813811402"/>
      </p:ext>
    </p:extLst>
  </p:cSld>
  <p:clrMap bg1="lt1" tx1="dk1" bg2="lt2" tx2="dk2" accent1="accent1" accent2="accent2" accent3="accent3" accent4="accent4" accent5="accent5" accent6="accent6" hlink="hlink" folHlink="folHlink"/>
  <p:sldLayoutIdLst>
    <p:sldLayoutId id="2147483661" r:id="rId1"/>
    <p:sldLayoutId id="2147483671" r:id="rId2"/>
    <p:sldLayoutId id="2147483698" r:id="rId3"/>
    <p:sldLayoutId id="2147483672" r:id="rId4"/>
    <p:sldLayoutId id="2147483673" r:id="rId5"/>
    <p:sldLayoutId id="2147483674" r:id="rId6"/>
    <p:sldLayoutId id="2147483699" r:id="rId7"/>
    <p:sldLayoutId id="2147483694" r:id="rId8"/>
    <p:sldLayoutId id="2147483695" r:id="rId9"/>
    <p:sldLayoutId id="2147483662" r:id="rId10"/>
    <p:sldLayoutId id="2147483669"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1" r:id="rId28"/>
    <p:sldLayoutId id="2147483692" r:id="rId29"/>
    <p:sldLayoutId id="2147483696" r:id="rId30"/>
  </p:sldLayoutIdLst>
  <p:hf hdr="0" ftr="0" dt="0"/>
  <p:txStyles>
    <p:titleStyle>
      <a:lvl1pPr algn="l" defTabSz="1193860" rtl="0" eaLnBrk="1" fontAlgn="base" hangingPunct="1">
        <a:spcBef>
          <a:spcPct val="0"/>
        </a:spcBef>
        <a:spcAft>
          <a:spcPct val="0"/>
        </a:spcAft>
        <a:tabLst>
          <a:tab pos="359851" algn="l"/>
        </a:tabLst>
        <a:defRPr sz="2400" b="0" baseline="0">
          <a:solidFill>
            <a:schemeClr val="tx2"/>
          </a:solidFill>
          <a:latin typeface="Century Gothic" panose="020B0502020202020204" pitchFamily="34" charset="0"/>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Century Gothic" panose="020B0502020202020204" pitchFamily="34" charset="0"/>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Century Gothic" panose="020B0502020202020204" pitchFamily="34" charset="0"/>
          <a:ea typeface="+mn-ea"/>
          <a:cs typeface="+mn-cs"/>
        </a:defRPr>
      </a:lvl2pPr>
      <a:lvl3pPr marL="481012" indent="-28575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Century Gothic" panose="020B0502020202020204" pitchFamily="34" charset="0"/>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Century Gothic" panose="020B0502020202020204" pitchFamily="34" charset="0"/>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Century Gothic" panose="020B0502020202020204" pitchFamily="34" charset="0"/>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17" userDrawn="1">
          <p15:clr>
            <a:srgbClr val="F26B43"/>
          </p15:clr>
        </p15:guide>
        <p15:guide id="2" pos="3763" userDrawn="1">
          <p15:clr>
            <a:srgbClr val="F26B43"/>
          </p15:clr>
        </p15:guide>
        <p15:guide id="3" pos="7243" userDrawn="1">
          <p15:clr>
            <a:srgbClr val="000000"/>
          </p15:clr>
        </p15:guide>
        <p15:guide id="4" pos="274" userDrawn="1">
          <p15:clr>
            <a:srgbClr val="000000"/>
          </p15:clr>
        </p15:guide>
        <p15:guide id="5" orient="horz" pos="3859" userDrawn="1">
          <p15:clr>
            <a:srgbClr val="A4A3A4"/>
          </p15:clr>
        </p15:guide>
        <p15:guide id="6" orient="horz" pos="670" userDrawn="1">
          <p15:clr>
            <a:srgbClr val="000000"/>
          </p15:clr>
        </p15:guide>
        <p15:guide id="7" orient="horz" pos="396" userDrawn="1">
          <p15:clr>
            <a:srgbClr val="A4A3A4"/>
          </p15:clr>
        </p15:guide>
        <p15:guide id="8" orient="horz" pos="151" userDrawn="1">
          <p15:clr>
            <a:srgbClr val="000000"/>
          </p15:clr>
        </p15:guide>
        <p15:guide id="9" orient="horz" pos="4075" userDrawn="1">
          <p15:clr>
            <a:srgbClr val="000000"/>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slideLayout" Target="../slideLayouts/slideLayout30.xml"/><Relationship Id="rId7" Type="http://schemas.openxmlformats.org/officeDocument/2006/relationships/image" Target="../media/image14.png"/><Relationship Id="rId2" Type="http://schemas.openxmlformats.org/officeDocument/2006/relationships/tags" Target="../tags/tag53.xml"/><Relationship Id="rId1" Type="http://schemas.openxmlformats.org/officeDocument/2006/relationships/vmlDrawing" Target="../drawings/vmlDrawing29.vml"/><Relationship Id="rId6" Type="http://schemas.openxmlformats.org/officeDocument/2006/relationships/image" Target="../media/image13.emf"/><Relationship Id="rId11" Type="http://schemas.openxmlformats.org/officeDocument/2006/relationships/image" Target="../media/image18.jpeg"/><Relationship Id="rId5" Type="http://schemas.openxmlformats.org/officeDocument/2006/relationships/oleObject" Target="../embeddings/oleObject29.bin"/><Relationship Id="rId10" Type="http://schemas.openxmlformats.org/officeDocument/2006/relationships/image" Target="../media/image17.jpeg"/><Relationship Id="rId4" Type="http://schemas.openxmlformats.org/officeDocument/2006/relationships/notesSlide" Target="../notesSlides/notesSlide1.xm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7" name="Object 126" hidden="1">
            <a:extLst>
              <a:ext uri="{FF2B5EF4-FFF2-40B4-BE49-F238E27FC236}">
                <a16:creationId xmlns:a16="http://schemas.microsoft.com/office/drawing/2014/main" id="{7C633A6A-9F0D-5C47-BF7D-38C5B540786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4153" name="think-cell Slide" r:id="rId5" imgW="7772400" imgH="10058400" progId="TCLayout.ActiveDocument.1">
                  <p:embed/>
                </p:oleObj>
              </mc:Choice>
              <mc:Fallback>
                <p:oleObj name="think-cell Slide" r:id="rId5" imgW="7772400" imgH="10058400" progId="TCLayout.ActiveDocument.1">
                  <p:embed/>
                  <p:pic>
                    <p:nvPicPr>
                      <p:cNvPr id="127" name="Object 126" hidden="1">
                        <a:extLst>
                          <a:ext uri="{FF2B5EF4-FFF2-40B4-BE49-F238E27FC236}">
                            <a16:creationId xmlns:a16="http://schemas.microsoft.com/office/drawing/2014/main" id="{7C633A6A-9F0D-5C47-BF7D-38C5B540786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6" name="Rectangle 125">
            <a:extLst>
              <a:ext uri="{FF2B5EF4-FFF2-40B4-BE49-F238E27FC236}">
                <a16:creationId xmlns:a16="http://schemas.microsoft.com/office/drawing/2014/main" id="{C6DB9747-9BD7-EF4A-8D06-8E670E48DD6C}"/>
              </a:ext>
            </a:extLst>
          </p:cNvPr>
          <p:cNvSpPr/>
          <p:nvPr/>
        </p:nvSpPr>
        <p:spPr>
          <a:xfrm>
            <a:off x="3749644" y="891494"/>
            <a:ext cx="7922358" cy="338554"/>
          </a:xfrm>
          <a:prstGeom prst="rect">
            <a:avLst/>
          </a:prstGeom>
          <a:solidFill>
            <a:srgbClr val="17673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nvGrpSpPr>
          <p:cNvPr id="9" name="Group 8">
            <a:extLst>
              <a:ext uri="{FF2B5EF4-FFF2-40B4-BE49-F238E27FC236}">
                <a16:creationId xmlns:a16="http://schemas.microsoft.com/office/drawing/2014/main" id="{11FE4253-4D54-A44D-B420-B077E559C5B9}"/>
              </a:ext>
            </a:extLst>
          </p:cNvPr>
          <p:cNvGrpSpPr/>
          <p:nvPr/>
        </p:nvGrpSpPr>
        <p:grpSpPr>
          <a:xfrm>
            <a:off x="3879284" y="1477953"/>
            <a:ext cx="243461" cy="196605"/>
            <a:chOff x="4302177" y="1355372"/>
            <a:chExt cx="456319" cy="368497"/>
          </a:xfrm>
        </p:grpSpPr>
        <p:sp>
          <p:nvSpPr>
            <p:cNvPr id="10" name="Rectangle 9">
              <a:extLst>
                <a:ext uri="{FF2B5EF4-FFF2-40B4-BE49-F238E27FC236}">
                  <a16:creationId xmlns:a16="http://schemas.microsoft.com/office/drawing/2014/main" id="{9F37F857-98C6-6D49-A288-B9281453BD7A}"/>
                </a:ext>
              </a:extLst>
            </p:cNvPr>
            <p:cNvSpPr/>
            <p:nvPr/>
          </p:nvSpPr>
          <p:spPr>
            <a:xfrm>
              <a:off x="4302177" y="1439056"/>
              <a:ext cx="329784" cy="284813"/>
            </a:xfrm>
            <a:prstGeom prst="rect">
              <a:avLst/>
            </a:prstGeom>
            <a:noFill/>
            <a:ln w="9525">
              <a:solidFill>
                <a:srgbClr val="17673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Century Gothic" panose="020B0502020202020204" pitchFamily="34" charset="0"/>
              </a:endParaRPr>
            </a:p>
          </p:txBody>
        </p:sp>
        <p:pic>
          <p:nvPicPr>
            <p:cNvPr id="11" name="Graphic 10">
              <a:extLst>
                <a:ext uri="{FF2B5EF4-FFF2-40B4-BE49-F238E27FC236}">
                  <a16:creationId xmlns:a16="http://schemas.microsoft.com/office/drawing/2014/main" id="{19FFA802-5E9C-6045-9C7B-661E43EEB367}"/>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7222"/>
            <a:stretch/>
          </p:blipFill>
          <p:spPr>
            <a:xfrm>
              <a:off x="4340532" y="1355372"/>
              <a:ext cx="417964" cy="365937"/>
            </a:xfrm>
            <a:prstGeom prst="rect">
              <a:avLst/>
            </a:prstGeom>
          </p:spPr>
        </p:pic>
      </p:grpSp>
      <p:grpSp>
        <p:nvGrpSpPr>
          <p:cNvPr id="65" name="Group 64">
            <a:extLst>
              <a:ext uri="{FF2B5EF4-FFF2-40B4-BE49-F238E27FC236}">
                <a16:creationId xmlns:a16="http://schemas.microsoft.com/office/drawing/2014/main" id="{FD7C5EB2-F739-C74E-96D7-473FF328A269}"/>
              </a:ext>
            </a:extLst>
          </p:cNvPr>
          <p:cNvGrpSpPr/>
          <p:nvPr/>
        </p:nvGrpSpPr>
        <p:grpSpPr>
          <a:xfrm>
            <a:off x="7924799" y="1477953"/>
            <a:ext cx="243461" cy="196605"/>
            <a:chOff x="4302177" y="1355372"/>
            <a:chExt cx="456319" cy="368497"/>
          </a:xfrm>
        </p:grpSpPr>
        <p:sp>
          <p:nvSpPr>
            <p:cNvPr id="66" name="Rectangle 65">
              <a:extLst>
                <a:ext uri="{FF2B5EF4-FFF2-40B4-BE49-F238E27FC236}">
                  <a16:creationId xmlns:a16="http://schemas.microsoft.com/office/drawing/2014/main" id="{C8706972-6B39-8142-ABB1-BE8B4BA8B42D}"/>
                </a:ext>
              </a:extLst>
            </p:cNvPr>
            <p:cNvSpPr/>
            <p:nvPr/>
          </p:nvSpPr>
          <p:spPr>
            <a:xfrm>
              <a:off x="4302177" y="1439056"/>
              <a:ext cx="329784" cy="284813"/>
            </a:xfrm>
            <a:prstGeom prst="rect">
              <a:avLst/>
            </a:prstGeom>
            <a:noFill/>
            <a:ln w="9525">
              <a:solidFill>
                <a:srgbClr val="17673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Century Gothic" panose="020B0502020202020204" pitchFamily="34" charset="0"/>
              </a:endParaRPr>
            </a:p>
          </p:txBody>
        </p:sp>
        <p:pic>
          <p:nvPicPr>
            <p:cNvPr id="67" name="Graphic 66">
              <a:extLst>
                <a:ext uri="{FF2B5EF4-FFF2-40B4-BE49-F238E27FC236}">
                  <a16:creationId xmlns:a16="http://schemas.microsoft.com/office/drawing/2014/main" id="{285F569C-C5A3-3643-8169-272B430CAA08}"/>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7222"/>
            <a:stretch/>
          </p:blipFill>
          <p:spPr>
            <a:xfrm>
              <a:off x="4340532" y="1355372"/>
              <a:ext cx="417964" cy="365937"/>
            </a:xfrm>
            <a:prstGeom prst="rect">
              <a:avLst/>
            </a:prstGeom>
          </p:spPr>
        </p:pic>
      </p:grpSp>
      <p:grpSp>
        <p:nvGrpSpPr>
          <p:cNvPr id="68" name="Group 67">
            <a:extLst>
              <a:ext uri="{FF2B5EF4-FFF2-40B4-BE49-F238E27FC236}">
                <a16:creationId xmlns:a16="http://schemas.microsoft.com/office/drawing/2014/main" id="{D3E19E8B-1ED2-624D-91C9-1681F02920A2}"/>
              </a:ext>
            </a:extLst>
          </p:cNvPr>
          <p:cNvGrpSpPr/>
          <p:nvPr/>
        </p:nvGrpSpPr>
        <p:grpSpPr>
          <a:xfrm>
            <a:off x="7924799" y="2323851"/>
            <a:ext cx="243461" cy="196605"/>
            <a:chOff x="4302177" y="1355372"/>
            <a:chExt cx="456319" cy="368497"/>
          </a:xfrm>
        </p:grpSpPr>
        <p:sp>
          <p:nvSpPr>
            <p:cNvPr id="69" name="Rectangle 68">
              <a:extLst>
                <a:ext uri="{FF2B5EF4-FFF2-40B4-BE49-F238E27FC236}">
                  <a16:creationId xmlns:a16="http://schemas.microsoft.com/office/drawing/2014/main" id="{74856141-8359-914A-813D-51D4E79D26D0}"/>
                </a:ext>
              </a:extLst>
            </p:cNvPr>
            <p:cNvSpPr/>
            <p:nvPr/>
          </p:nvSpPr>
          <p:spPr>
            <a:xfrm>
              <a:off x="4302177" y="1439056"/>
              <a:ext cx="329784" cy="284813"/>
            </a:xfrm>
            <a:prstGeom prst="rect">
              <a:avLst/>
            </a:prstGeom>
            <a:noFill/>
            <a:ln w="9525">
              <a:solidFill>
                <a:srgbClr val="17673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Century Gothic" panose="020B0502020202020204" pitchFamily="34" charset="0"/>
              </a:endParaRPr>
            </a:p>
          </p:txBody>
        </p:sp>
        <p:pic>
          <p:nvPicPr>
            <p:cNvPr id="70" name="Graphic 69">
              <a:extLst>
                <a:ext uri="{FF2B5EF4-FFF2-40B4-BE49-F238E27FC236}">
                  <a16:creationId xmlns:a16="http://schemas.microsoft.com/office/drawing/2014/main" id="{D8EAE4FE-DBEA-5346-A16C-B4317ADD8D48}"/>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7222"/>
            <a:stretch/>
          </p:blipFill>
          <p:spPr>
            <a:xfrm>
              <a:off x="4340532" y="1355372"/>
              <a:ext cx="417964" cy="365937"/>
            </a:xfrm>
            <a:prstGeom prst="rect">
              <a:avLst/>
            </a:prstGeom>
          </p:spPr>
        </p:pic>
      </p:grpSp>
      <p:grpSp>
        <p:nvGrpSpPr>
          <p:cNvPr id="74" name="Group 73">
            <a:extLst>
              <a:ext uri="{FF2B5EF4-FFF2-40B4-BE49-F238E27FC236}">
                <a16:creationId xmlns:a16="http://schemas.microsoft.com/office/drawing/2014/main" id="{10CDBC8B-D638-114A-8172-E2CA18B1BC18}"/>
              </a:ext>
            </a:extLst>
          </p:cNvPr>
          <p:cNvGrpSpPr/>
          <p:nvPr/>
        </p:nvGrpSpPr>
        <p:grpSpPr>
          <a:xfrm>
            <a:off x="7934766" y="1887625"/>
            <a:ext cx="243461" cy="196605"/>
            <a:chOff x="4302177" y="1355372"/>
            <a:chExt cx="456319" cy="368497"/>
          </a:xfrm>
        </p:grpSpPr>
        <p:sp>
          <p:nvSpPr>
            <p:cNvPr id="75" name="Rectangle 74">
              <a:extLst>
                <a:ext uri="{FF2B5EF4-FFF2-40B4-BE49-F238E27FC236}">
                  <a16:creationId xmlns:a16="http://schemas.microsoft.com/office/drawing/2014/main" id="{658B827E-99C5-0846-9D24-975D6917F032}"/>
                </a:ext>
              </a:extLst>
            </p:cNvPr>
            <p:cNvSpPr/>
            <p:nvPr/>
          </p:nvSpPr>
          <p:spPr>
            <a:xfrm>
              <a:off x="4302177" y="1439056"/>
              <a:ext cx="329784" cy="284813"/>
            </a:xfrm>
            <a:prstGeom prst="rect">
              <a:avLst/>
            </a:prstGeom>
            <a:noFill/>
            <a:ln w="9525">
              <a:solidFill>
                <a:srgbClr val="17673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Century Gothic" panose="020B0502020202020204" pitchFamily="34" charset="0"/>
              </a:endParaRPr>
            </a:p>
          </p:txBody>
        </p:sp>
        <p:pic>
          <p:nvPicPr>
            <p:cNvPr id="76" name="Graphic 75">
              <a:extLst>
                <a:ext uri="{FF2B5EF4-FFF2-40B4-BE49-F238E27FC236}">
                  <a16:creationId xmlns:a16="http://schemas.microsoft.com/office/drawing/2014/main" id="{77A9257C-4F58-3A40-8D98-E0C74AA7D9D1}"/>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7222"/>
            <a:stretch/>
          </p:blipFill>
          <p:spPr>
            <a:xfrm>
              <a:off x="4340532" y="1355372"/>
              <a:ext cx="417964" cy="365937"/>
            </a:xfrm>
            <a:prstGeom prst="rect">
              <a:avLst/>
            </a:prstGeom>
          </p:spPr>
        </p:pic>
      </p:grpSp>
      <p:grpSp>
        <p:nvGrpSpPr>
          <p:cNvPr id="80" name="Group 79">
            <a:extLst>
              <a:ext uri="{FF2B5EF4-FFF2-40B4-BE49-F238E27FC236}">
                <a16:creationId xmlns:a16="http://schemas.microsoft.com/office/drawing/2014/main" id="{D071A4EB-3D7F-9D49-AAFB-B88C9FE35B14}"/>
              </a:ext>
            </a:extLst>
          </p:cNvPr>
          <p:cNvGrpSpPr/>
          <p:nvPr/>
        </p:nvGrpSpPr>
        <p:grpSpPr>
          <a:xfrm>
            <a:off x="7934766" y="2712027"/>
            <a:ext cx="243461" cy="196605"/>
            <a:chOff x="4302177" y="1355372"/>
            <a:chExt cx="456319" cy="368497"/>
          </a:xfrm>
        </p:grpSpPr>
        <p:sp>
          <p:nvSpPr>
            <p:cNvPr id="81" name="Rectangle 80">
              <a:extLst>
                <a:ext uri="{FF2B5EF4-FFF2-40B4-BE49-F238E27FC236}">
                  <a16:creationId xmlns:a16="http://schemas.microsoft.com/office/drawing/2014/main" id="{8880F81E-4D55-7A4F-B1AA-6F182C1E4D85}"/>
                </a:ext>
              </a:extLst>
            </p:cNvPr>
            <p:cNvSpPr/>
            <p:nvPr/>
          </p:nvSpPr>
          <p:spPr>
            <a:xfrm>
              <a:off x="4302177" y="1439056"/>
              <a:ext cx="329784" cy="284813"/>
            </a:xfrm>
            <a:prstGeom prst="rect">
              <a:avLst/>
            </a:prstGeom>
            <a:noFill/>
            <a:ln w="9525">
              <a:solidFill>
                <a:srgbClr val="17673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Century Gothic" panose="020B0502020202020204" pitchFamily="34" charset="0"/>
              </a:endParaRPr>
            </a:p>
          </p:txBody>
        </p:sp>
        <p:pic>
          <p:nvPicPr>
            <p:cNvPr id="82" name="Graphic 81">
              <a:extLst>
                <a:ext uri="{FF2B5EF4-FFF2-40B4-BE49-F238E27FC236}">
                  <a16:creationId xmlns:a16="http://schemas.microsoft.com/office/drawing/2014/main" id="{9BD42E96-621F-224E-B5A9-D19924AA4CFF}"/>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7222"/>
            <a:stretch/>
          </p:blipFill>
          <p:spPr>
            <a:xfrm>
              <a:off x="4340532" y="1355372"/>
              <a:ext cx="417964" cy="365937"/>
            </a:xfrm>
            <a:prstGeom prst="rect">
              <a:avLst/>
            </a:prstGeom>
          </p:spPr>
        </p:pic>
      </p:grpSp>
      <p:grpSp>
        <p:nvGrpSpPr>
          <p:cNvPr id="83" name="Group 82">
            <a:extLst>
              <a:ext uri="{FF2B5EF4-FFF2-40B4-BE49-F238E27FC236}">
                <a16:creationId xmlns:a16="http://schemas.microsoft.com/office/drawing/2014/main" id="{A397B2CC-C5B6-BE4A-B92F-649E39287722}"/>
              </a:ext>
            </a:extLst>
          </p:cNvPr>
          <p:cNvGrpSpPr/>
          <p:nvPr/>
        </p:nvGrpSpPr>
        <p:grpSpPr>
          <a:xfrm>
            <a:off x="7955230" y="4831627"/>
            <a:ext cx="243461" cy="196605"/>
            <a:chOff x="4302177" y="1355372"/>
            <a:chExt cx="456319" cy="368497"/>
          </a:xfrm>
        </p:grpSpPr>
        <p:sp>
          <p:nvSpPr>
            <p:cNvPr id="84" name="Rectangle 83">
              <a:extLst>
                <a:ext uri="{FF2B5EF4-FFF2-40B4-BE49-F238E27FC236}">
                  <a16:creationId xmlns:a16="http://schemas.microsoft.com/office/drawing/2014/main" id="{E31F934F-5813-4E48-B6C1-B3362A86DC72}"/>
                </a:ext>
              </a:extLst>
            </p:cNvPr>
            <p:cNvSpPr/>
            <p:nvPr/>
          </p:nvSpPr>
          <p:spPr>
            <a:xfrm>
              <a:off x="4302177" y="1439056"/>
              <a:ext cx="329784" cy="284813"/>
            </a:xfrm>
            <a:prstGeom prst="rect">
              <a:avLst/>
            </a:prstGeom>
            <a:noFill/>
            <a:ln w="9525">
              <a:solidFill>
                <a:srgbClr val="17673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Century Gothic" panose="020B0502020202020204" pitchFamily="34" charset="0"/>
              </a:endParaRPr>
            </a:p>
          </p:txBody>
        </p:sp>
        <p:pic>
          <p:nvPicPr>
            <p:cNvPr id="85" name="Graphic 84">
              <a:extLst>
                <a:ext uri="{FF2B5EF4-FFF2-40B4-BE49-F238E27FC236}">
                  <a16:creationId xmlns:a16="http://schemas.microsoft.com/office/drawing/2014/main" id="{F32E3B0E-DFC8-6E4D-B67F-2C64DB4918C5}"/>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7222"/>
            <a:stretch/>
          </p:blipFill>
          <p:spPr>
            <a:xfrm>
              <a:off x="4340532" y="1355372"/>
              <a:ext cx="417964" cy="365937"/>
            </a:xfrm>
            <a:prstGeom prst="rect">
              <a:avLst/>
            </a:prstGeom>
          </p:spPr>
        </p:pic>
      </p:grpSp>
      <p:sp>
        <p:nvSpPr>
          <p:cNvPr id="116" name="Rectangle 115">
            <a:extLst>
              <a:ext uri="{FF2B5EF4-FFF2-40B4-BE49-F238E27FC236}">
                <a16:creationId xmlns:a16="http://schemas.microsoft.com/office/drawing/2014/main" id="{4C619CE7-DFBD-CE45-BBE1-29CA99AC3906}"/>
              </a:ext>
            </a:extLst>
          </p:cNvPr>
          <p:cNvSpPr/>
          <p:nvPr/>
        </p:nvSpPr>
        <p:spPr>
          <a:xfrm>
            <a:off x="224566" y="1230048"/>
            <a:ext cx="3434593" cy="1660072"/>
          </a:xfrm>
          <a:prstGeom prst="rect">
            <a:avLst/>
          </a:prstGeom>
          <a:solidFill>
            <a:srgbClr val="176739">
              <a:alpha val="3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0" name="TextBox 119">
            <a:extLst>
              <a:ext uri="{FF2B5EF4-FFF2-40B4-BE49-F238E27FC236}">
                <a16:creationId xmlns:a16="http://schemas.microsoft.com/office/drawing/2014/main" id="{9D230A14-021A-274A-99E1-568063C23173}"/>
              </a:ext>
            </a:extLst>
          </p:cNvPr>
          <p:cNvSpPr txBox="1"/>
          <p:nvPr/>
        </p:nvSpPr>
        <p:spPr>
          <a:xfrm>
            <a:off x="5225738" y="891494"/>
            <a:ext cx="4543778" cy="323165"/>
          </a:xfrm>
          <a:prstGeom prst="rect">
            <a:avLst/>
          </a:prstGeom>
          <a:noFill/>
        </p:spPr>
        <p:txBody>
          <a:bodyPr wrap="square" rtlCol="0">
            <a:spAutoFit/>
          </a:bodyPr>
          <a:lstStyle/>
          <a:p>
            <a:pPr algn="ctr"/>
            <a:r>
              <a:rPr lang="en-US" sz="1500" b="1" dirty="0">
                <a:solidFill>
                  <a:schemeClr val="bg1"/>
                </a:solidFill>
                <a:latin typeface="Century Gothic" panose="020B0502020202020204" pitchFamily="34" charset="0"/>
              </a:rPr>
              <a:t>What documents do I need to apply?</a:t>
            </a:r>
          </a:p>
        </p:txBody>
      </p:sp>
      <p:sp>
        <p:nvSpPr>
          <p:cNvPr id="142" name="TextBox 141">
            <a:extLst>
              <a:ext uri="{FF2B5EF4-FFF2-40B4-BE49-F238E27FC236}">
                <a16:creationId xmlns:a16="http://schemas.microsoft.com/office/drawing/2014/main" id="{8142D890-5B09-A948-B4FA-E3ADC46982C2}"/>
              </a:ext>
            </a:extLst>
          </p:cNvPr>
          <p:cNvSpPr txBox="1"/>
          <p:nvPr/>
        </p:nvSpPr>
        <p:spPr>
          <a:xfrm>
            <a:off x="150638" y="157963"/>
            <a:ext cx="11880295" cy="369332"/>
          </a:xfrm>
          <a:prstGeom prst="rect">
            <a:avLst/>
          </a:prstGeom>
          <a:noFill/>
        </p:spPr>
        <p:txBody>
          <a:bodyPr wrap="square" rtlCol="0">
            <a:spAutoFit/>
          </a:bodyPr>
          <a:lstStyle/>
          <a:p>
            <a:r>
              <a:rPr lang="en-US" sz="1800" b="1" dirty="0">
                <a:solidFill>
                  <a:srgbClr val="176739"/>
                </a:solidFill>
                <a:latin typeface="Century Gothic" panose="020B0502020202020204" pitchFamily="34" charset="0"/>
              </a:rPr>
              <a:t>5M SOLAR CONNECTION FACILITY: </a:t>
            </a:r>
            <a:r>
              <a:rPr lang="en-US" sz="1800" dirty="0">
                <a:solidFill>
                  <a:srgbClr val="176739"/>
                </a:solidFill>
                <a:latin typeface="Century Gothic" panose="020B0502020202020204" pitchFamily="34" charset="0"/>
              </a:rPr>
              <a:t>APPLICATION GUIDELINES – UPSTREAM APPLICANTS</a:t>
            </a:r>
          </a:p>
        </p:txBody>
      </p:sp>
      <p:sp>
        <p:nvSpPr>
          <p:cNvPr id="122" name="Rectangle 121">
            <a:extLst>
              <a:ext uri="{FF2B5EF4-FFF2-40B4-BE49-F238E27FC236}">
                <a16:creationId xmlns:a16="http://schemas.microsoft.com/office/drawing/2014/main" id="{3D463A8B-22E9-F04E-BDD2-7F3D117EEB39}"/>
              </a:ext>
            </a:extLst>
          </p:cNvPr>
          <p:cNvSpPr/>
          <p:nvPr/>
        </p:nvSpPr>
        <p:spPr>
          <a:xfrm>
            <a:off x="179011" y="5118600"/>
            <a:ext cx="3434592" cy="338554"/>
          </a:xfrm>
          <a:prstGeom prst="rect">
            <a:avLst/>
          </a:prstGeom>
          <a:solidFill>
            <a:srgbClr val="17673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23" name="TextBox 122">
            <a:extLst>
              <a:ext uri="{FF2B5EF4-FFF2-40B4-BE49-F238E27FC236}">
                <a16:creationId xmlns:a16="http://schemas.microsoft.com/office/drawing/2014/main" id="{B5E73A66-96C3-E248-A48D-D5E7B63CA0C5}"/>
              </a:ext>
            </a:extLst>
          </p:cNvPr>
          <p:cNvSpPr txBox="1"/>
          <p:nvPr/>
        </p:nvSpPr>
        <p:spPr>
          <a:xfrm>
            <a:off x="152803" y="5117645"/>
            <a:ext cx="3488100" cy="323165"/>
          </a:xfrm>
          <a:prstGeom prst="rect">
            <a:avLst/>
          </a:prstGeom>
          <a:noFill/>
        </p:spPr>
        <p:txBody>
          <a:bodyPr wrap="square" rtlCol="0">
            <a:spAutoFit/>
          </a:bodyPr>
          <a:lstStyle/>
          <a:p>
            <a:pPr algn="ctr"/>
            <a:r>
              <a:rPr lang="en-US" sz="1500" b="1" dirty="0">
                <a:solidFill>
                  <a:schemeClr val="bg1"/>
                </a:solidFill>
                <a:latin typeface="Century Gothic" panose="020B0502020202020204" pitchFamily="34" charset="0"/>
              </a:rPr>
              <a:t>How long will the process take? </a:t>
            </a:r>
          </a:p>
        </p:txBody>
      </p:sp>
      <p:sp>
        <p:nvSpPr>
          <p:cNvPr id="132" name="Rectangle 131">
            <a:extLst>
              <a:ext uri="{FF2B5EF4-FFF2-40B4-BE49-F238E27FC236}">
                <a16:creationId xmlns:a16="http://schemas.microsoft.com/office/drawing/2014/main" id="{44BE0951-28F4-5544-B8F6-E9FE5C295129}"/>
              </a:ext>
            </a:extLst>
          </p:cNvPr>
          <p:cNvSpPr/>
          <p:nvPr/>
        </p:nvSpPr>
        <p:spPr>
          <a:xfrm>
            <a:off x="224566" y="892566"/>
            <a:ext cx="3436640" cy="338554"/>
          </a:xfrm>
          <a:prstGeom prst="rect">
            <a:avLst/>
          </a:prstGeom>
          <a:solidFill>
            <a:srgbClr val="17673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44" name="Rectangle 143">
            <a:extLst>
              <a:ext uri="{FF2B5EF4-FFF2-40B4-BE49-F238E27FC236}">
                <a16:creationId xmlns:a16="http://schemas.microsoft.com/office/drawing/2014/main" id="{08B9B2B8-E6AB-1C40-ABA5-9C0C87F7120D}"/>
              </a:ext>
            </a:extLst>
          </p:cNvPr>
          <p:cNvSpPr/>
          <p:nvPr/>
        </p:nvSpPr>
        <p:spPr>
          <a:xfrm>
            <a:off x="179557" y="5537467"/>
            <a:ext cx="3434593" cy="729349"/>
          </a:xfrm>
          <a:prstGeom prst="rect">
            <a:avLst/>
          </a:prstGeom>
          <a:solidFill>
            <a:srgbClr val="176739">
              <a:alpha val="3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en-US" sz="1000" dirty="0">
                <a:solidFill>
                  <a:schemeClr val="tx1"/>
                </a:solidFill>
                <a:latin typeface="Century Gothic" panose="020B0502020202020204" pitchFamily="34" charset="0"/>
              </a:rPr>
              <a:t>The due diligence process will be completed by the commercial bank chosen and this is subject to appraising the application and the outcome of the due diligence conducted. </a:t>
            </a:r>
          </a:p>
        </p:txBody>
      </p:sp>
      <p:grpSp>
        <p:nvGrpSpPr>
          <p:cNvPr id="7" name="Group 6">
            <a:extLst>
              <a:ext uri="{FF2B5EF4-FFF2-40B4-BE49-F238E27FC236}">
                <a16:creationId xmlns:a16="http://schemas.microsoft.com/office/drawing/2014/main" id="{53F022E9-06D1-4840-9C27-3BC2F71B34F6}"/>
              </a:ext>
            </a:extLst>
          </p:cNvPr>
          <p:cNvGrpSpPr/>
          <p:nvPr/>
        </p:nvGrpSpPr>
        <p:grpSpPr>
          <a:xfrm>
            <a:off x="4611749" y="6326011"/>
            <a:ext cx="2642855" cy="330645"/>
            <a:chOff x="4660288" y="6285432"/>
            <a:chExt cx="3036184" cy="379854"/>
          </a:xfrm>
        </p:grpSpPr>
        <p:pic>
          <p:nvPicPr>
            <p:cNvPr id="141" name="Google Shape;175;p1">
              <a:extLst>
                <a:ext uri="{FF2B5EF4-FFF2-40B4-BE49-F238E27FC236}">
                  <a16:creationId xmlns:a16="http://schemas.microsoft.com/office/drawing/2014/main" id="{0CBDF3B5-6A68-014B-A2E0-819C844934F2}"/>
                </a:ext>
              </a:extLst>
            </p:cNvPr>
            <p:cNvPicPr preferRelativeResize="0"/>
            <p:nvPr/>
          </p:nvPicPr>
          <p:blipFill rotWithShape="1">
            <a:blip r:embed="rId9">
              <a:alphaModFix/>
            </a:blip>
            <a:srcRect b="11322"/>
            <a:stretch/>
          </p:blipFill>
          <p:spPr>
            <a:xfrm>
              <a:off x="7050442" y="6285432"/>
              <a:ext cx="646030" cy="379854"/>
            </a:xfrm>
            <a:prstGeom prst="rect">
              <a:avLst/>
            </a:prstGeom>
            <a:noFill/>
            <a:ln>
              <a:noFill/>
            </a:ln>
          </p:spPr>
        </p:pic>
        <p:pic>
          <p:nvPicPr>
            <p:cNvPr id="2192390" name="Picture 6" descr="Central Bank of Nigeria on Twitter: &quot;Nigeria's Foreign Exchange Reserves  was this morning boosted by over $200Million when the London Commercial  Court ordered the release of the $200Million guarantee put in place">
              <a:extLst>
                <a:ext uri="{FF2B5EF4-FFF2-40B4-BE49-F238E27FC236}">
                  <a16:creationId xmlns:a16="http://schemas.microsoft.com/office/drawing/2014/main" id="{8E6E2E68-12C7-3F42-91BF-6279E611586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60288" y="6303165"/>
              <a:ext cx="333490" cy="333490"/>
            </a:xfrm>
            <a:prstGeom prst="rect">
              <a:avLst/>
            </a:prstGeom>
            <a:noFill/>
            <a:extLst>
              <a:ext uri="{909E8E84-426E-40DD-AFC4-6F175D3DCCD1}">
                <a14:hiddenFill xmlns:a14="http://schemas.microsoft.com/office/drawing/2010/main">
                  <a:solidFill>
                    <a:srgbClr val="FFFFFF"/>
                  </a:solidFill>
                </a14:hiddenFill>
              </a:ext>
            </a:extLst>
          </p:spPr>
        </p:pic>
        <p:pic>
          <p:nvPicPr>
            <p:cNvPr id="2192394" name="Picture 10" descr="Federal Ministry of Finance - Home | Facebook">
              <a:extLst>
                <a:ext uri="{FF2B5EF4-FFF2-40B4-BE49-F238E27FC236}">
                  <a16:creationId xmlns:a16="http://schemas.microsoft.com/office/drawing/2014/main" id="{E23D8686-9C91-7343-9A00-4780030388DC}"/>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b="27486"/>
            <a:stretch/>
          </p:blipFill>
          <p:spPr bwMode="auto">
            <a:xfrm>
              <a:off x="5778792" y="6295750"/>
              <a:ext cx="486635" cy="35287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6" name="Straight Connector 5">
            <a:extLst>
              <a:ext uri="{FF2B5EF4-FFF2-40B4-BE49-F238E27FC236}">
                <a16:creationId xmlns:a16="http://schemas.microsoft.com/office/drawing/2014/main" id="{BC5CBA17-0FC8-2744-8AA3-5FA3FFB7CFCA}"/>
              </a:ext>
            </a:extLst>
          </p:cNvPr>
          <p:cNvCxnSpPr>
            <a:cxnSpLocks/>
          </p:cNvCxnSpPr>
          <p:nvPr/>
        </p:nvCxnSpPr>
        <p:spPr>
          <a:xfrm>
            <a:off x="212478" y="6268612"/>
            <a:ext cx="11447436"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15BFCC57-891A-E748-9896-1A23012D04AD}"/>
              </a:ext>
            </a:extLst>
          </p:cNvPr>
          <p:cNvSpPr txBox="1"/>
          <p:nvPr/>
        </p:nvSpPr>
        <p:spPr>
          <a:xfrm>
            <a:off x="-69275" y="867980"/>
            <a:ext cx="3508519" cy="323165"/>
          </a:xfrm>
          <a:prstGeom prst="rect">
            <a:avLst/>
          </a:prstGeom>
          <a:noFill/>
        </p:spPr>
        <p:txBody>
          <a:bodyPr wrap="square" rtlCol="0">
            <a:spAutoFit/>
          </a:bodyPr>
          <a:lstStyle/>
          <a:p>
            <a:pPr algn="ctr"/>
            <a:r>
              <a:rPr lang="en-US" sz="1500" b="1" dirty="0">
                <a:solidFill>
                  <a:schemeClr val="bg1"/>
                </a:solidFill>
                <a:latin typeface="Century Gothic" panose="020B0502020202020204" pitchFamily="34" charset="0"/>
              </a:rPr>
              <a:t>How do I apply?</a:t>
            </a:r>
          </a:p>
        </p:txBody>
      </p:sp>
      <p:sp>
        <p:nvSpPr>
          <p:cNvPr id="59" name="TextBox 58">
            <a:extLst>
              <a:ext uri="{FF2B5EF4-FFF2-40B4-BE49-F238E27FC236}">
                <a16:creationId xmlns:a16="http://schemas.microsoft.com/office/drawing/2014/main" id="{55C661C7-2565-1E4D-A7A9-80B855BBF325}"/>
              </a:ext>
            </a:extLst>
          </p:cNvPr>
          <p:cNvSpPr txBox="1"/>
          <p:nvPr/>
        </p:nvSpPr>
        <p:spPr>
          <a:xfrm>
            <a:off x="3770588" y="1242395"/>
            <a:ext cx="3816171" cy="276999"/>
          </a:xfrm>
          <a:prstGeom prst="rect">
            <a:avLst/>
          </a:prstGeom>
          <a:noFill/>
        </p:spPr>
        <p:txBody>
          <a:bodyPr wrap="square" rtlCol="0">
            <a:spAutoFit/>
          </a:bodyPr>
          <a:lstStyle/>
          <a:p>
            <a:r>
              <a:rPr lang="en-US" sz="1200" b="1" dirty="0">
                <a:solidFill>
                  <a:srgbClr val="176739"/>
                </a:solidFill>
                <a:latin typeface="Century Gothic" panose="020B0502020202020204" pitchFamily="34" charset="0"/>
              </a:rPr>
              <a:t>Demonstrate verifiable evidences of: </a:t>
            </a:r>
          </a:p>
        </p:txBody>
      </p:sp>
      <p:sp>
        <p:nvSpPr>
          <p:cNvPr id="145" name="TextBox 144">
            <a:extLst>
              <a:ext uri="{FF2B5EF4-FFF2-40B4-BE49-F238E27FC236}">
                <a16:creationId xmlns:a16="http://schemas.microsoft.com/office/drawing/2014/main" id="{D39731AD-23F0-B241-BDC2-E297161D05A2}"/>
              </a:ext>
            </a:extLst>
          </p:cNvPr>
          <p:cNvSpPr txBox="1"/>
          <p:nvPr/>
        </p:nvSpPr>
        <p:spPr>
          <a:xfrm>
            <a:off x="7818480" y="1242395"/>
            <a:ext cx="3816171" cy="276999"/>
          </a:xfrm>
          <a:prstGeom prst="rect">
            <a:avLst/>
          </a:prstGeom>
          <a:noFill/>
        </p:spPr>
        <p:txBody>
          <a:bodyPr wrap="square" rtlCol="0">
            <a:spAutoFit/>
          </a:bodyPr>
          <a:lstStyle/>
          <a:p>
            <a:r>
              <a:rPr lang="en-US" sz="1200" b="1" dirty="0">
                <a:solidFill>
                  <a:srgbClr val="176739"/>
                </a:solidFill>
                <a:latin typeface="Century Gothic" panose="020B0502020202020204" pitchFamily="34" charset="0"/>
              </a:rPr>
              <a:t>Additional Documents Checklist </a:t>
            </a:r>
          </a:p>
        </p:txBody>
      </p:sp>
      <p:sp>
        <p:nvSpPr>
          <p:cNvPr id="4" name="Rectangle 3">
            <a:extLst>
              <a:ext uri="{FF2B5EF4-FFF2-40B4-BE49-F238E27FC236}">
                <a16:creationId xmlns:a16="http://schemas.microsoft.com/office/drawing/2014/main" id="{8FA3F4D0-D273-8248-B0E2-CBCC4EDE97EA}"/>
              </a:ext>
            </a:extLst>
          </p:cNvPr>
          <p:cNvSpPr/>
          <p:nvPr/>
        </p:nvSpPr>
        <p:spPr>
          <a:xfrm>
            <a:off x="8148673" y="1459978"/>
            <a:ext cx="3484064" cy="4520789"/>
          </a:xfrm>
          <a:prstGeom prst="rect">
            <a:avLst/>
          </a:prstGeom>
        </p:spPr>
        <p:txBody>
          <a:bodyPr wrap="square">
            <a:spAutoFit/>
          </a:bodyPr>
          <a:lstStyle/>
          <a:p>
            <a:pPr lvl="0" algn="just">
              <a:lnSpc>
                <a:spcPct val="107000"/>
              </a:lnSpc>
              <a:spcAft>
                <a:spcPts val="300"/>
              </a:spcAft>
            </a:pPr>
            <a:r>
              <a:rPr lang="en-US" sz="1000" dirty="0">
                <a:latin typeface="Century Gothic" panose="020B0502020202020204" pitchFamily="34" charset="0"/>
                <a:ea typeface="Calibri" panose="020F0502020204030204" pitchFamily="34" charset="0"/>
                <a:cs typeface="Times New Roman" panose="02020603050405020304" pitchFamily="18" charset="0"/>
              </a:rPr>
              <a:t>Written request from the project promoter </a:t>
            </a:r>
          </a:p>
          <a:p>
            <a:pPr lvl="0" algn="just">
              <a:lnSpc>
                <a:spcPct val="107000"/>
              </a:lnSpc>
              <a:spcAft>
                <a:spcPts val="300"/>
              </a:spcAft>
            </a:pPr>
            <a:endParaRPr lang="en-US" sz="1000" dirty="0">
              <a:latin typeface="Century Gothic" panose="020B0502020202020204" pitchFamily="34" charset="0"/>
              <a:ea typeface="Calibri" panose="020F0502020204030204" pitchFamily="34" charset="0"/>
              <a:cs typeface="Times New Roman" panose="02020603050405020304" pitchFamily="18" charset="0"/>
            </a:endParaRPr>
          </a:p>
          <a:p>
            <a:pPr lvl="0" algn="just">
              <a:lnSpc>
                <a:spcPct val="107000"/>
              </a:lnSpc>
              <a:spcAft>
                <a:spcPts val="300"/>
              </a:spcAft>
            </a:pPr>
            <a:r>
              <a:rPr lang="en-US" sz="1000" dirty="0">
                <a:latin typeface="Century Gothic" panose="020B0502020202020204" pitchFamily="34" charset="0"/>
                <a:ea typeface="Calibri" panose="020F0502020204030204" pitchFamily="34" charset="0"/>
                <a:cs typeface="Times New Roman" panose="02020603050405020304" pitchFamily="18" charset="0"/>
              </a:rPr>
              <a:t>Certificate of Incorporation</a:t>
            </a:r>
          </a:p>
          <a:p>
            <a:pPr lvl="0" algn="just">
              <a:lnSpc>
                <a:spcPct val="107000"/>
              </a:lnSpc>
              <a:spcAft>
                <a:spcPts val="300"/>
              </a:spcAft>
            </a:pPr>
            <a:endParaRPr lang="en-US" sz="1000" dirty="0">
              <a:latin typeface="Century Gothic" panose="020B0502020202020204" pitchFamily="34" charset="0"/>
              <a:ea typeface="Calibri" panose="020F0502020204030204" pitchFamily="34" charset="0"/>
              <a:cs typeface="Times New Roman" panose="02020603050405020304" pitchFamily="18" charset="0"/>
            </a:endParaRPr>
          </a:p>
          <a:p>
            <a:pPr lvl="0" algn="just">
              <a:lnSpc>
                <a:spcPct val="107000"/>
              </a:lnSpc>
              <a:spcAft>
                <a:spcPts val="300"/>
              </a:spcAft>
            </a:pPr>
            <a:r>
              <a:rPr lang="en-US" sz="1000" dirty="0">
                <a:latin typeface="Century Gothic" panose="020B0502020202020204" pitchFamily="34" charset="0"/>
                <a:ea typeface="Calibri" panose="020F0502020204030204" pitchFamily="34" charset="0"/>
                <a:cs typeface="Times New Roman" panose="02020603050405020304" pitchFamily="18" charset="0"/>
              </a:rPr>
              <a:t>Copy of MEMART </a:t>
            </a:r>
          </a:p>
          <a:p>
            <a:pPr lvl="0" algn="just">
              <a:lnSpc>
                <a:spcPct val="107000"/>
              </a:lnSpc>
              <a:spcAft>
                <a:spcPts val="300"/>
              </a:spcAft>
            </a:pPr>
            <a:endParaRPr lang="en-US" sz="1000" dirty="0">
              <a:latin typeface="Century Gothic" panose="020B0502020202020204" pitchFamily="34" charset="0"/>
              <a:ea typeface="Calibri" panose="020F0502020204030204" pitchFamily="34" charset="0"/>
              <a:cs typeface="Times New Roman" panose="02020603050405020304" pitchFamily="18" charset="0"/>
            </a:endParaRPr>
          </a:p>
          <a:p>
            <a:pPr lvl="0" algn="just">
              <a:lnSpc>
                <a:spcPct val="107000"/>
              </a:lnSpc>
              <a:spcAft>
                <a:spcPts val="300"/>
              </a:spcAft>
            </a:pPr>
            <a:r>
              <a:rPr lang="en-US" sz="1000" dirty="0">
                <a:latin typeface="Century Gothic" panose="020B0502020202020204" pitchFamily="34" charset="0"/>
                <a:ea typeface="Calibri" panose="020F0502020204030204" pitchFamily="34" charset="0"/>
                <a:cs typeface="Times New Roman" panose="02020603050405020304" pitchFamily="18" charset="0"/>
              </a:rPr>
              <a:t>Copy of Form CAC 2A (Return of allotment of shares);</a:t>
            </a:r>
          </a:p>
          <a:p>
            <a:pPr lvl="0" algn="just">
              <a:lnSpc>
                <a:spcPct val="107000"/>
              </a:lnSpc>
              <a:spcAft>
                <a:spcPts val="300"/>
              </a:spcAft>
            </a:pPr>
            <a:r>
              <a:rPr lang="en-US" sz="1000" dirty="0">
                <a:latin typeface="Century Gothic" panose="020B0502020202020204" pitchFamily="34" charset="0"/>
                <a:ea typeface="Calibri" panose="020F0502020204030204" pitchFamily="34" charset="0"/>
                <a:cs typeface="Times New Roman" panose="02020603050405020304" pitchFamily="18" charset="0"/>
              </a:rPr>
              <a:t>Business plan including:</a:t>
            </a:r>
          </a:p>
          <a:p>
            <a:pPr marL="628650" lvl="1" indent="-171450" algn="just">
              <a:lnSpc>
                <a:spcPct val="107000"/>
              </a:lnSpc>
              <a:spcAft>
                <a:spcPts val="300"/>
              </a:spcAft>
              <a:buFont typeface="Arial" panose="020B0604020202020204" pitchFamily="34" charset="0"/>
              <a:buChar char="•"/>
            </a:pPr>
            <a:r>
              <a:rPr lang="en-US" sz="1000" dirty="0">
                <a:latin typeface="Century Gothic" panose="020B0502020202020204" pitchFamily="34" charset="0"/>
                <a:ea typeface="Calibri" panose="020F0502020204030204" pitchFamily="34" charset="0"/>
                <a:cs typeface="Times New Roman" panose="02020603050405020304" pitchFamily="18" charset="0"/>
              </a:rPr>
              <a:t>Completed Environmental and Social Management System (ESMS) template </a:t>
            </a:r>
          </a:p>
          <a:p>
            <a:pPr marL="628650" lvl="1" indent="-171450" algn="just">
              <a:lnSpc>
                <a:spcPct val="107000"/>
              </a:lnSpc>
              <a:spcAft>
                <a:spcPts val="300"/>
              </a:spcAft>
              <a:buFont typeface="Arial" panose="020B0604020202020204" pitchFamily="34" charset="0"/>
              <a:buChar char="•"/>
            </a:pPr>
            <a:r>
              <a:rPr lang="en-US" sz="1000" dirty="0">
                <a:latin typeface="Century Gothic" panose="020B0502020202020204" pitchFamily="34" charset="0"/>
                <a:ea typeface="Calibri" panose="020F0502020204030204" pitchFamily="34" charset="0"/>
                <a:cs typeface="Times New Roman" panose="02020603050405020304" pitchFamily="18" charset="0"/>
              </a:rPr>
              <a:t>Organizational chart</a:t>
            </a:r>
          </a:p>
          <a:p>
            <a:pPr marL="628650" lvl="1" indent="-171450" algn="just">
              <a:lnSpc>
                <a:spcPct val="107000"/>
              </a:lnSpc>
              <a:spcAft>
                <a:spcPts val="300"/>
              </a:spcAft>
              <a:buFont typeface="Arial" panose="020B0604020202020204" pitchFamily="34" charset="0"/>
              <a:buChar char="•"/>
            </a:pPr>
            <a:r>
              <a:rPr lang="en-US" sz="1000" dirty="0">
                <a:latin typeface="Century Gothic" panose="020B0502020202020204" pitchFamily="34" charset="0"/>
                <a:ea typeface="Calibri" panose="020F0502020204030204" pitchFamily="34" charset="0"/>
                <a:cs typeface="Times New Roman" panose="02020603050405020304" pitchFamily="18" charset="0"/>
              </a:rPr>
              <a:t>Health and safety guidelines</a:t>
            </a:r>
          </a:p>
          <a:p>
            <a:pPr marL="628650" lvl="1" indent="-171450" algn="just">
              <a:lnSpc>
                <a:spcPct val="107000"/>
              </a:lnSpc>
              <a:spcAft>
                <a:spcPts val="300"/>
              </a:spcAft>
              <a:buFont typeface="Arial" panose="020B0604020202020204" pitchFamily="34" charset="0"/>
              <a:buChar char="•"/>
            </a:pPr>
            <a:r>
              <a:rPr lang="en-US" sz="1000" dirty="0">
                <a:latin typeface="Century Gothic" panose="020B0502020202020204" pitchFamily="34" charset="0"/>
                <a:ea typeface="Calibri" panose="020F0502020204030204" pitchFamily="34" charset="0"/>
                <a:cs typeface="Times New Roman" panose="02020603050405020304" pitchFamily="18" charset="0"/>
              </a:rPr>
              <a:t>3-year financial projections </a:t>
            </a:r>
          </a:p>
          <a:p>
            <a:pPr marL="628650" lvl="1" indent="-171450" algn="just">
              <a:lnSpc>
                <a:spcPct val="107000"/>
              </a:lnSpc>
              <a:spcAft>
                <a:spcPts val="300"/>
              </a:spcAft>
              <a:buFont typeface="Arial" panose="020B0604020202020204" pitchFamily="34" charset="0"/>
              <a:buChar char="•"/>
            </a:pPr>
            <a:r>
              <a:rPr lang="en-US" sz="1000" dirty="0">
                <a:latin typeface="Century Gothic" panose="020B0502020202020204" pitchFamily="34" charset="0"/>
                <a:ea typeface="Calibri" panose="020F0502020204030204" pitchFamily="34" charset="0"/>
                <a:cs typeface="Times New Roman" panose="02020603050405020304" pitchFamily="18" charset="0"/>
              </a:rPr>
              <a:t>Detailed vocational and technical training plan</a:t>
            </a:r>
          </a:p>
          <a:p>
            <a:pPr marL="628650" lvl="1" indent="-171450" algn="just">
              <a:lnSpc>
                <a:spcPct val="107000"/>
              </a:lnSpc>
              <a:spcAft>
                <a:spcPts val="300"/>
              </a:spcAft>
              <a:buFont typeface="Arial" panose="020B0604020202020204" pitchFamily="34" charset="0"/>
              <a:buChar char="•"/>
            </a:pPr>
            <a:r>
              <a:rPr lang="en-US" sz="1000" dirty="0">
                <a:latin typeface="Century Gothic" panose="020B0502020202020204" pitchFamily="34" charset="0"/>
                <a:ea typeface="Calibri" panose="020F0502020204030204" pitchFamily="34" charset="0"/>
                <a:cs typeface="Times New Roman" panose="02020603050405020304" pitchFamily="18" charset="0"/>
              </a:rPr>
              <a:t>Bill of Materials</a:t>
            </a:r>
          </a:p>
          <a:p>
            <a:pPr lvl="0" algn="just">
              <a:lnSpc>
                <a:spcPct val="107000"/>
              </a:lnSpc>
              <a:spcAft>
                <a:spcPts val="300"/>
              </a:spcAft>
            </a:pPr>
            <a:endParaRPr lang="en-US" sz="1000" dirty="0">
              <a:latin typeface="Century Gothic" panose="020B0502020202020204" pitchFamily="34" charset="0"/>
              <a:ea typeface="Calibri" panose="020F0502020204030204" pitchFamily="34" charset="0"/>
              <a:cs typeface="Times New Roman" panose="02020603050405020304" pitchFamily="18" charset="0"/>
            </a:endParaRPr>
          </a:p>
          <a:p>
            <a:pPr lvl="0" algn="just">
              <a:lnSpc>
                <a:spcPct val="107000"/>
              </a:lnSpc>
              <a:spcAft>
                <a:spcPts val="300"/>
              </a:spcAft>
            </a:pPr>
            <a:r>
              <a:rPr lang="en-US" sz="1000" dirty="0">
                <a:latin typeface="Century Gothic" panose="020B0502020202020204" pitchFamily="34" charset="0"/>
                <a:ea typeface="Calibri" panose="020F0502020204030204" pitchFamily="34" charset="0"/>
                <a:cs typeface="Times New Roman" panose="02020603050405020304" pitchFamily="18" charset="0"/>
              </a:rPr>
              <a:t>Off-taker agreements with prequalified NEP companies;</a:t>
            </a:r>
          </a:p>
          <a:p>
            <a:pPr lvl="0" algn="just">
              <a:lnSpc>
                <a:spcPct val="107000"/>
              </a:lnSpc>
              <a:spcAft>
                <a:spcPts val="300"/>
              </a:spcAft>
            </a:pPr>
            <a:endParaRPr lang="en-US" sz="1000" dirty="0">
              <a:latin typeface="Century Gothic" panose="020B0502020202020204" pitchFamily="34" charset="0"/>
              <a:ea typeface="Calibri" panose="020F0502020204030204" pitchFamily="34" charset="0"/>
              <a:cs typeface="Times New Roman" panose="02020603050405020304" pitchFamily="18" charset="0"/>
            </a:endParaRPr>
          </a:p>
          <a:p>
            <a:pPr lvl="0" algn="just">
              <a:lnSpc>
                <a:spcPct val="107000"/>
              </a:lnSpc>
              <a:spcAft>
                <a:spcPts val="300"/>
              </a:spcAft>
            </a:pPr>
            <a:r>
              <a:rPr lang="en-US" sz="1000" dirty="0">
                <a:latin typeface="Century Gothic" panose="020B0502020202020204" pitchFamily="34" charset="0"/>
                <a:ea typeface="Calibri" panose="020F0502020204030204" pitchFamily="34" charset="0"/>
                <a:cs typeface="Times New Roman" panose="02020603050405020304" pitchFamily="18" charset="0"/>
              </a:rPr>
              <a:t>Three (3) years audited financial statements for existing companies or a 6- months Management Account for new companies; </a:t>
            </a:r>
          </a:p>
        </p:txBody>
      </p:sp>
      <p:grpSp>
        <p:nvGrpSpPr>
          <p:cNvPr id="161" name="Group 160">
            <a:extLst>
              <a:ext uri="{FF2B5EF4-FFF2-40B4-BE49-F238E27FC236}">
                <a16:creationId xmlns:a16="http://schemas.microsoft.com/office/drawing/2014/main" id="{3FC4146C-39EF-9C45-BB74-5EE2999B4F5C}"/>
              </a:ext>
            </a:extLst>
          </p:cNvPr>
          <p:cNvGrpSpPr/>
          <p:nvPr/>
        </p:nvGrpSpPr>
        <p:grpSpPr>
          <a:xfrm>
            <a:off x="7965461" y="5412506"/>
            <a:ext cx="243461" cy="196605"/>
            <a:chOff x="4302177" y="1355372"/>
            <a:chExt cx="456319" cy="368497"/>
          </a:xfrm>
        </p:grpSpPr>
        <p:sp>
          <p:nvSpPr>
            <p:cNvPr id="162" name="Rectangle 161">
              <a:extLst>
                <a:ext uri="{FF2B5EF4-FFF2-40B4-BE49-F238E27FC236}">
                  <a16:creationId xmlns:a16="http://schemas.microsoft.com/office/drawing/2014/main" id="{7ECCCC92-5993-944A-9BFE-0A1806392BDC}"/>
                </a:ext>
              </a:extLst>
            </p:cNvPr>
            <p:cNvSpPr/>
            <p:nvPr/>
          </p:nvSpPr>
          <p:spPr>
            <a:xfrm>
              <a:off x="4302177" y="1439056"/>
              <a:ext cx="329784" cy="284813"/>
            </a:xfrm>
            <a:prstGeom prst="rect">
              <a:avLst/>
            </a:prstGeom>
            <a:noFill/>
            <a:ln w="9525">
              <a:solidFill>
                <a:srgbClr val="17673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Century Gothic" panose="020B0502020202020204" pitchFamily="34" charset="0"/>
              </a:endParaRPr>
            </a:p>
          </p:txBody>
        </p:sp>
        <p:pic>
          <p:nvPicPr>
            <p:cNvPr id="163" name="Graphic 162">
              <a:extLst>
                <a:ext uri="{FF2B5EF4-FFF2-40B4-BE49-F238E27FC236}">
                  <a16:creationId xmlns:a16="http://schemas.microsoft.com/office/drawing/2014/main" id="{6D885A42-A5AC-8843-8C95-2123961F6FB1}"/>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7222"/>
            <a:stretch/>
          </p:blipFill>
          <p:spPr>
            <a:xfrm>
              <a:off x="4340532" y="1355372"/>
              <a:ext cx="417964" cy="365937"/>
            </a:xfrm>
            <a:prstGeom prst="rect">
              <a:avLst/>
            </a:prstGeom>
          </p:spPr>
        </p:pic>
      </p:grpSp>
      <p:sp>
        <p:nvSpPr>
          <p:cNvPr id="2" name="TextBox 1">
            <a:extLst>
              <a:ext uri="{FF2B5EF4-FFF2-40B4-BE49-F238E27FC236}">
                <a16:creationId xmlns:a16="http://schemas.microsoft.com/office/drawing/2014/main" id="{504512AD-C9AC-4642-9EEC-C0D911D6B5C3}"/>
              </a:ext>
            </a:extLst>
          </p:cNvPr>
          <p:cNvSpPr txBox="1"/>
          <p:nvPr/>
        </p:nvSpPr>
        <p:spPr>
          <a:xfrm>
            <a:off x="228412" y="1240797"/>
            <a:ext cx="3426316" cy="2823850"/>
          </a:xfrm>
          <a:prstGeom prst="rect">
            <a:avLst/>
          </a:prstGeom>
          <a:noFill/>
        </p:spPr>
        <p:txBody>
          <a:bodyPr wrap="square" rtlCol="0">
            <a:spAutoFit/>
          </a:bodyPr>
          <a:lstStyle/>
          <a:p>
            <a:pPr marL="228600" indent="-228600">
              <a:spcAft>
                <a:spcPts val="300"/>
              </a:spcAft>
              <a:buFont typeface="+mj-lt"/>
              <a:buAutoNum type="arabicPeriod"/>
            </a:pPr>
            <a:r>
              <a:rPr lang="en-US" sz="1000" dirty="0">
                <a:latin typeface="Century Gothic" panose="020B0502020202020204" pitchFamily="34" charset="0"/>
              </a:rPr>
              <a:t>Access REA website and download loan application letter</a:t>
            </a:r>
          </a:p>
          <a:p>
            <a:pPr marL="228600" indent="-228600">
              <a:spcAft>
                <a:spcPts val="300"/>
              </a:spcAft>
              <a:buFont typeface="+mj-lt"/>
              <a:buAutoNum type="arabicPeriod"/>
            </a:pPr>
            <a:r>
              <a:rPr lang="en-US" sz="1000" dirty="0">
                <a:latin typeface="Century Gothic" panose="020B0502020202020204" pitchFamily="34" charset="0"/>
              </a:rPr>
              <a:t>Complete loan application letter and send to your Primary Financial Institution along side supporting documents  </a:t>
            </a:r>
          </a:p>
          <a:p>
            <a:pPr marL="228600" indent="-228600">
              <a:spcAft>
                <a:spcPts val="300"/>
              </a:spcAft>
              <a:buFont typeface="+mj-lt"/>
              <a:buAutoNum type="arabicPeriod"/>
            </a:pPr>
            <a:r>
              <a:rPr lang="en-US" sz="1000" b="1" dirty="0">
                <a:latin typeface="Century Gothic" panose="020B0502020202020204" pitchFamily="34" charset="0"/>
              </a:rPr>
              <a:t>Documents Submission (In parallel) </a:t>
            </a:r>
          </a:p>
          <a:p>
            <a:pPr marL="685800" lvl="1" indent="-228600">
              <a:spcAft>
                <a:spcPts val="300"/>
              </a:spcAft>
              <a:buFont typeface="+mj-lt"/>
              <a:buAutoNum type="alphaLcParenR"/>
            </a:pPr>
            <a:r>
              <a:rPr lang="en-US" sz="1000" dirty="0">
                <a:latin typeface="Century Gothic" panose="020B0502020202020204" pitchFamily="34" charset="0"/>
              </a:rPr>
              <a:t>Submit business completed business plan and additional company documentation to PFI</a:t>
            </a:r>
          </a:p>
          <a:p>
            <a:pPr marL="685800" lvl="1" indent="-228600">
              <a:spcAft>
                <a:spcPts val="300"/>
              </a:spcAft>
              <a:buFont typeface="+mj-lt"/>
              <a:buAutoNum type="alphaLcParenR"/>
            </a:pPr>
            <a:r>
              <a:rPr lang="en-US" sz="1000" dirty="0">
                <a:latin typeface="Century Gothic" panose="020B0502020202020204" pitchFamily="34" charset="0"/>
              </a:rPr>
              <a:t>Upload completed business plan, loan application letter alongside all supporting documents in REA data room</a:t>
            </a:r>
          </a:p>
          <a:p>
            <a:pPr marL="228600" indent="-228600">
              <a:spcAft>
                <a:spcPts val="300"/>
              </a:spcAft>
              <a:buFont typeface="+mj-lt"/>
              <a:buAutoNum type="arabicPeriod"/>
            </a:pPr>
            <a:r>
              <a:rPr lang="en-US" sz="1000" dirty="0">
                <a:latin typeface="Century Gothic" panose="020B0502020202020204" pitchFamily="34" charset="0"/>
              </a:rPr>
              <a:t>Receive REA validation letter following review of submitted documents </a:t>
            </a:r>
          </a:p>
          <a:p>
            <a:pPr marL="228600" indent="-228600">
              <a:spcAft>
                <a:spcPts val="300"/>
              </a:spcAft>
              <a:buFont typeface="+mj-lt"/>
              <a:buAutoNum type="arabicPeriod"/>
            </a:pPr>
            <a:r>
              <a:rPr lang="en-US" sz="1000" dirty="0">
                <a:latin typeface="Century Gothic" panose="020B0502020202020204" pitchFamily="34" charset="0"/>
              </a:rPr>
              <a:t>Send REA validation letter to PFI.</a:t>
            </a:r>
          </a:p>
          <a:p>
            <a:pPr marL="228600" indent="-228600">
              <a:spcAft>
                <a:spcPts val="300"/>
              </a:spcAft>
              <a:buFont typeface="+mj-lt"/>
              <a:buAutoNum type="arabicPeriod"/>
            </a:pPr>
            <a:endParaRPr lang="en-US" sz="1000" dirty="0">
              <a:latin typeface="Century Gothic" panose="020B0502020202020204" pitchFamily="34" charset="0"/>
            </a:endParaRPr>
          </a:p>
        </p:txBody>
      </p:sp>
      <p:sp>
        <p:nvSpPr>
          <p:cNvPr id="121" name="TextBox 120">
            <a:extLst>
              <a:ext uri="{FF2B5EF4-FFF2-40B4-BE49-F238E27FC236}">
                <a16:creationId xmlns:a16="http://schemas.microsoft.com/office/drawing/2014/main" id="{2CD3CBEB-03F9-4D33-B463-ABD1BB6B741A}"/>
              </a:ext>
            </a:extLst>
          </p:cNvPr>
          <p:cNvSpPr txBox="1"/>
          <p:nvPr/>
        </p:nvSpPr>
        <p:spPr>
          <a:xfrm>
            <a:off x="3844179" y="1474101"/>
            <a:ext cx="3910322" cy="1015663"/>
          </a:xfrm>
          <a:prstGeom prst="rect">
            <a:avLst/>
          </a:prstGeom>
          <a:noFill/>
        </p:spPr>
        <p:txBody>
          <a:bodyPr wrap="square">
            <a:spAutoFit/>
          </a:bodyPr>
          <a:lstStyle/>
          <a:p>
            <a:pPr marL="285750" indent="-285750">
              <a:buFont typeface="Arial" panose="020B0604020202020204" pitchFamily="34" charset="0"/>
              <a:buChar char="•"/>
            </a:pPr>
            <a:r>
              <a:rPr lang="en-US" sz="1000" b="1" dirty="0">
                <a:latin typeface="Century Gothic" panose="020B0502020202020204" pitchFamily="34" charset="0"/>
              </a:rPr>
              <a:t>Technical capacity</a:t>
            </a:r>
            <a:r>
              <a:rPr lang="en-US" sz="1000" dirty="0">
                <a:latin typeface="Century Gothic" panose="020B0502020202020204" pitchFamily="34" charset="0"/>
              </a:rPr>
              <a:t>: Eligible manufacturers must demonstrate a track record of experience in manufacturing of key off-grid components up to the quality standards instituted by the Rural Electrification Agency (REA) and/or Standards Organizations of Nigeria (SON) </a:t>
            </a:r>
          </a:p>
        </p:txBody>
      </p:sp>
      <p:grpSp>
        <p:nvGrpSpPr>
          <p:cNvPr id="133" name="Group 132">
            <a:extLst>
              <a:ext uri="{FF2B5EF4-FFF2-40B4-BE49-F238E27FC236}">
                <a16:creationId xmlns:a16="http://schemas.microsoft.com/office/drawing/2014/main" id="{8CDB0B98-562C-4746-9735-034639F6F02D}"/>
              </a:ext>
            </a:extLst>
          </p:cNvPr>
          <p:cNvGrpSpPr/>
          <p:nvPr/>
        </p:nvGrpSpPr>
        <p:grpSpPr>
          <a:xfrm>
            <a:off x="3858974" y="2416353"/>
            <a:ext cx="243461" cy="196605"/>
            <a:chOff x="4302177" y="1355372"/>
            <a:chExt cx="456319" cy="368497"/>
          </a:xfrm>
        </p:grpSpPr>
        <p:sp>
          <p:nvSpPr>
            <p:cNvPr id="134" name="Rectangle 133">
              <a:extLst>
                <a:ext uri="{FF2B5EF4-FFF2-40B4-BE49-F238E27FC236}">
                  <a16:creationId xmlns:a16="http://schemas.microsoft.com/office/drawing/2014/main" id="{FBBE660E-2E4F-4D9B-8BA3-53B8DA4A2767}"/>
                </a:ext>
              </a:extLst>
            </p:cNvPr>
            <p:cNvSpPr/>
            <p:nvPr/>
          </p:nvSpPr>
          <p:spPr>
            <a:xfrm>
              <a:off x="4302177" y="1439056"/>
              <a:ext cx="329784" cy="284813"/>
            </a:xfrm>
            <a:prstGeom prst="rect">
              <a:avLst/>
            </a:prstGeom>
            <a:noFill/>
            <a:ln w="9525">
              <a:solidFill>
                <a:srgbClr val="17673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Century Gothic" panose="020B0502020202020204" pitchFamily="34" charset="0"/>
              </a:endParaRPr>
            </a:p>
          </p:txBody>
        </p:sp>
        <p:pic>
          <p:nvPicPr>
            <p:cNvPr id="135" name="Graphic 134">
              <a:extLst>
                <a:ext uri="{FF2B5EF4-FFF2-40B4-BE49-F238E27FC236}">
                  <a16:creationId xmlns:a16="http://schemas.microsoft.com/office/drawing/2014/main" id="{EDC520AC-D5E6-4AA1-BA84-E7394AA5D8CE}"/>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7222"/>
            <a:stretch/>
          </p:blipFill>
          <p:spPr>
            <a:xfrm>
              <a:off x="4340532" y="1355372"/>
              <a:ext cx="417964" cy="365937"/>
            </a:xfrm>
            <a:prstGeom prst="rect">
              <a:avLst/>
            </a:prstGeom>
          </p:spPr>
        </p:pic>
      </p:grpSp>
      <p:sp>
        <p:nvSpPr>
          <p:cNvPr id="8" name="TextBox 7">
            <a:extLst>
              <a:ext uri="{FF2B5EF4-FFF2-40B4-BE49-F238E27FC236}">
                <a16:creationId xmlns:a16="http://schemas.microsoft.com/office/drawing/2014/main" id="{7C9D35CC-AC21-4E56-8386-CADB5EDE8DFA}"/>
              </a:ext>
            </a:extLst>
          </p:cNvPr>
          <p:cNvSpPr txBox="1"/>
          <p:nvPr/>
        </p:nvSpPr>
        <p:spPr>
          <a:xfrm>
            <a:off x="3817581" y="2426333"/>
            <a:ext cx="3910322" cy="553998"/>
          </a:xfrm>
          <a:prstGeom prst="rect">
            <a:avLst/>
          </a:prstGeom>
          <a:noFill/>
        </p:spPr>
        <p:txBody>
          <a:bodyPr wrap="square">
            <a:spAutoFit/>
          </a:bodyPr>
          <a:lstStyle/>
          <a:p>
            <a:pPr marL="285750" indent="-285750">
              <a:buFont typeface="Arial" panose="020B0604020202020204" pitchFamily="34" charset="0"/>
              <a:buChar char="•"/>
            </a:pPr>
            <a:r>
              <a:rPr lang="en-US" sz="1000" b="1" dirty="0">
                <a:latin typeface="Century Gothic" panose="020B0502020202020204" pitchFamily="34" charset="0"/>
              </a:rPr>
              <a:t>Financial capacity: </a:t>
            </a:r>
            <a:r>
              <a:rPr lang="en-US" sz="1000" dirty="0">
                <a:latin typeface="Century Gothic" panose="020B0502020202020204" pitchFamily="34" charset="0"/>
              </a:rPr>
              <a:t>Eligible manufacturers must demonstrate financial capacity to repay the loan through a sufficient debt service current ratio (DSCR</a:t>
            </a:r>
            <a:r>
              <a:rPr lang="en-US" sz="1000" b="1" dirty="0">
                <a:latin typeface="Century Gothic" panose="020B0502020202020204" pitchFamily="34" charset="0"/>
              </a:rPr>
              <a:t>). </a:t>
            </a:r>
          </a:p>
        </p:txBody>
      </p:sp>
      <p:sp>
        <p:nvSpPr>
          <p:cNvPr id="16" name="TextBox 15">
            <a:extLst>
              <a:ext uri="{FF2B5EF4-FFF2-40B4-BE49-F238E27FC236}">
                <a16:creationId xmlns:a16="http://schemas.microsoft.com/office/drawing/2014/main" id="{FF21AAE0-F7CC-493C-B2C0-A5FA7FF4FFA6}"/>
              </a:ext>
            </a:extLst>
          </p:cNvPr>
          <p:cNvSpPr txBox="1"/>
          <p:nvPr/>
        </p:nvSpPr>
        <p:spPr>
          <a:xfrm>
            <a:off x="3838328" y="2995998"/>
            <a:ext cx="3910322" cy="861774"/>
          </a:xfrm>
          <a:prstGeom prst="rect">
            <a:avLst/>
          </a:prstGeom>
          <a:noFill/>
        </p:spPr>
        <p:txBody>
          <a:bodyPr wrap="square">
            <a:spAutoFit/>
          </a:bodyPr>
          <a:lstStyle/>
          <a:p>
            <a:pPr marL="285750" indent="-285750">
              <a:buFont typeface="Arial" panose="020B0604020202020204" pitchFamily="34" charset="0"/>
              <a:buChar char="•"/>
            </a:pPr>
            <a:r>
              <a:rPr lang="en-US" sz="1000" b="1" dirty="0">
                <a:latin typeface="Century Gothic" panose="020B0502020202020204" pitchFamily="34" charset="0"/>
              </a:rPr>
              <a:t>Off-take agreement: </a:t>
            </a:r>
            <a:r>
              <a:rPr lang="en-US" sz="1000" dirty="0">
                <a:latin typeface="Century Gothic" panose="020B0502020202020204" pitchFamily="34" charset="0"/>
              </a:rPr>
              <a:t>Eligible manufacturers must provide evidence of an irrevocable off-take agreement with one or more Nigeria Electrification Project (NEP) prequalified companies </a:t>
            </a:r>
          </a:p>
          <a:p>
            <a:pPr marL="285750" indent="-285750">
              <a:buFont typeface="Arial" panose="020B0604020202020204" pitchFamily="34" charset="0"/>
              <a:buChar char="•"/>
            </a:pPr>
            <a:endParaRPr lang="en-US" sz="1000" dirty="0">
              <a:latin typeface="Century Gothic" panose="020B0502020202020204" pitchFamily="34" charset="0"/>
            </a:endParaRPr>
          </a:p>
        </p:txBody>
      </p:sp>
      <p:sp>
        <p:nvSpPr>
          <p:cNvPr id="17" name="TextBox 16">
            <a:extLst>
              <a:ext uri="{FF2B5EF4-FFF2-40B4-BE49-F238E27FC236}">
                <a16:creationId xmlns:a16="http://schemas.microsoft.com/office/drawing/2014/main" id="{81A0AEC5-4570-4200-B299-B0B7DB0CFF61}"/>
              </a:ext>
            </a:extLst>
          </p:cNvPr>
          <p:cNvSpPr txBox="1"/>
          <p:nvPr/>
        </p:nvSpPr>
        <p:spPr>
          <a:xfrm>
            <a:off x="3817581" y="3730089"/>
            <a:ext cx="3910322" cy="707886"/>
          </a:xfrm>
          <a:prstGeom prst="rect">
            <a:avLst/>
          </a:prstGeom>
          <a:noFill/>
        </p:spPr>
        <p:txBody>
          <a:bodyPr wrap="square">
            <a:spAutoFit/>
          </a:bodyPr>
          <a:lstStyle/>
          <a:p>
            <a:pPr marL="285750" indent="-285750">
              <a:buFont typeface="Arial" panose="020B0604020202020204" pitchFamily="34" charset="0"/>
              <a:buChar char="•"/>
            </a:pPr>
            <a:r>
              <a:rPr lang="en-US" sz="1000" b="1" dirty="0">
                <a:latin typeface="Century Gothic" panose="020B0502020202020204" pitchFamily="34" charset="0"/>
              </a:rPr>
              <a:t>Local content: </a:t>
            </a:r>
            <a:r>
              <a:rPr lang="en-US" sz="1000" dirty="0">
                <a:latin typeface="Century Gothic" panose="020B0502020202020204" pitchFamily="34" charset="0"/>
              </a:rPr>
              <a:t>Eligible component manufacturers are Nigerian-owned entities or consortiums involving a minimum of 70% local ownership</a:t>
            </a:r>
          </a:p>
          <a:p>
            <a:pPr marL="285750" indent="-285750">
              <a:buFont typeface="Arial" panose="020B0604020202020204" pitchFamily="34" charset="0"/>
              <a:buChar char="•"/>
            </a:pPr>
            <a:endParaRPr lang="en-US" sz="1000" dirty="0">
              <a:latin typeface="Century Gothic" panose="020B0502020202020204" pitchFamily="34" charset="0"/>
            </a:endParaRPr>
          </a:p>
        </p:txBody>
      </p:sp>
      <p:sp>
        <p:nvSpPr>
          <p:cNvPr id="33" name="TextBox 32">
            <a:extLst>
              <a:ext uri="{FF2B5EF4-FFF2-40B4-BE49-F238E27FC236}">
                <a16:creationId xmlns:a16="http://schemas.microsoft.com/office/drawing/2014/main" id="{657A9441-CEC2-4CA7-BE65-20848AC3A7FE}"/>
              </a:ext>
            </a:extLst>
          </p:cNvPr>
          <p:cNvSpPr txBox="1"/>
          <p:nvPr/>
        </p:nvSpPr>
        <p:spPr>
          <a:xfrm>
            <a:off x="3775496" y="4943381"/>
            <a:ext cx="3910322" cy="1323439"/>
          </a:xfrm>
          <a:prstGeom prst="rect">
            <a:avLst/>
          </a:prstGeom>
          <a:noFill/>
        </p:spPr>
        <p:txBody>
          <a:bodyPr wrap="square">
            <a:spAutoFit/>
          </a:bodyPr>
          <a:lstStyle/>
          <a:p>
            <a:pPr marL="285750" indent="-285750">
              <a:buFont typeface="Arial" panose="020B0604020202020204" pitchFamily="34" charset="0"/>
              <a:buChar char="•"/>
            </a:pPr>
            <a:r>
              <a:rPr lang="en-US" sz="1000" b="1" dirty="0">
                <a:latin typeface="Century Gothic" panose="020B0502020202020204" pitchFamily="34" charset="0"/>
              </a:rPr>
              <a:t>Vertically integrated participants: </a:t>
            </a:r>
            <a:r>
              <a:rPr lang="en-US" sz="1000" dirty="0">
                <a:latin typeface="Century Gothic" panose="020B0502020202020204" pitchFamily="34" charset="0"/>
              </a:rPr>
              <a:t>Downstream participants (SHS distributors and mini gird developers) planning to manufacture or assemble their own products will need to comply with the criteria above, including terms of technical capacity by demonstrating ability to comply with the REA and SON quality standards </a:t>
            </a:r>
          </a:p>
          <a:p>
            <a:pPr marL="285750" indent="-285750">
              <a:buFont typeface="Arial" panose="020B0604020202020204" pitchFamily="34" charset="0"/>
              <a:buChar char="•"/>
            </a:pPr>
            <a:endParaRPr lang="en-US" sz="1000" dirty="0">
              <a:latin typeface="Century Gothic" panose="020B0502020202020204" pitchFamily="34" charset="0"/>
            </a:endParaRPr>
          </a:p>
        </p:txBody>
      </p:sp>
      <p:grpSp>
        <p:nvGrpSpPr>
          <p:cNvPr id="155" name="Group 154">
            <a:extLst>
              <a:ext uri="{FF2B5EF4-FFF2-40B4-BE49-F238E27FC236}">
                <a16:creationId xmlns:a16="http://schemas.microsoft.com/office/drawing/2014/main" id="{ADD60B6D-F37B-4A59-A1DD-878F31539F35}"/>
              </a:ext>
            </a:extLst>
          </p:cNvPr>
          <p:cNvGrpSpPr/>
          <p:nvPr/>
        </p:nvGrpSpPr>
        <p:grpSpPr>
          <a:xfrm>
            <a:off x="3862732" y="3008808"/>
            <a:ext cx="243461" cy="196605"/>
            <a:chOff x="4302177" y="1355372"/>
            <a:chExt cx="456319" cy="368497"/>
          </a:xfrm>
        </p:grpSpPr>
        <p:sp>
          <p:nvSpPr>
            <p:cNvPr id="156" name="Rectangle 155">
              <a:extLst>
                <a:ext uri="{FF2B5EF4-FFF2-40B4-BE49-F238E27FC236}">
                  <a16:creationId xmlns:a16="http://schemas.microsoft.com/office/drawing/2014/main" id="{3A8F1819-DAE7-415C-A383-822FD854A8BB}"/>
                </a:ext>
              </a:extLst>
            </p:cNvPr>
            <p:cNvSpPr/>
            <p:nvPr/>
          </p:nvSpPr>
          <p:spPr>
            <a:xfrm>
              <a:off x="4302177" y="1439056"/>
              <a:ext cx="329784" cy="284813"/>
            </a:xfrm>
            <a:prstGeom prst="rect">
              <a:avLst/>
            </a:prstGeom>
            <a:noFill/>
            <a:ln w="9525">
              <a:solidFill>
                <a:srgbClr val="17673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Century Gothic" panose="020B0502020202020204" pitchFamily="34" charset="0"/>
              </a:endParaRPr>
            </a:p>
          </p:txBody>
        </p:sp>
        <p:pic>
          <p:nvPicPr>
            <p:cNvPr id="157" name="Graphic 156">
              <a:extLst>
                <a:ext uri="{FF2B5EF4-FFF2-40B4-BE49-F238E27FC236}">
                  <a16:creationId xmlns:a16="http://schemas.microsoft.com/office/drawing/2014/main" id="{D14FCD70-B89D-4BA9-91E8-0818F37F2D4A}"/>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7222"/>
            <a:stretch/>
          </p:blipFill>
          <p:spPr>
            <a:xfrm>
              <a:off x="4340532" y="1355372"/>
              <a:ext cx="417964" cy="365937"/>
            </a:xfrm>
            <a:prstGeom prst="rect">
              <a:avLst/>
            </a:prstGeom>
          </p:spPr>
        </p:pic>
      </p:grpSp>
      <p:grpSp>
        <p:nvGrpSpPr>
          <p:cNvPr id="158" name="Group 157">
            <a:extLst>
              <a:ext uri="{FF2B5EF4-FFF2-40B4-BE49-F238E27FC236}">
                <a16:creationId xmlns:a16="http://schemas.microsoft.com/office/drawing/2014/main" id="{B42D94A1-8C24-49B8-8D91-CB0AD2121432}"/>
              </a:ext>
            </a:extLst>
          </p:cNvPr>
          <p:cNvGrpSpPr/>
          <p:nvPr/>
        </p:nvGrpSpPr>
        <p:grpSpPr>
          <a:xfrm>
            <a:off x="3871533" y="3735355"/>
            <a:ext cx="243461" cy="196605"/>
            <a:chOff x="4302177" y="1355372"/>
            <a:chExt cx="456319" cy="368497"/>
          </a:xfrm>
        </p:grpSpPr>
        <p:sp>
          <p:nvSpPr>
            <p:cNvPr id="159" name="Rectangle 158">
              <a:extLst>
                <a:ext uri="{FF2B5EF4-FFF2-40B4-BE49-F238E27FC236}">
                  <a16:creationId xmlns:a16="http://schemas.microsoft.com/office/drawing/2014/main" id="{B5F5A730-253B-4E72-AA78-23D4A8C6739F}"/>
                </a:ext>
              </a:extLst>
            </p:cNvPr>
            <p:cNvSpPr/>
            <p:nvPr/>
          </p:nvSpPr>
          <p:spPr>
            <a:xfrm>
              <a:off x="4302177" y="1439056"/>
              <a:ext cx="329784" cy="284813"/>
            </a:xfrm>
            <a:prstGeom prst="rect">
              <a:avLst/>
            </a:prstGeom>
            <a:noFill/>
            <a:ln w="9525">
              <a:solidFill>
                <a:srgbClr val="17673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Century Gothic" panose="020B0502020202020204" pitchFamily="34" charset="0"/>
              </a:endParaRPr>
            </a:p>
          </p:txBody>
        </p:sp>
        <p:pic>
          <p:nvPicPr>
            <p:cNvPr id="160" name="Graphic 159">
              <a:extLst>
                <a:ext uri="{FF2B5EF4-FFF2-40B4-BE49-F238E27FC236}">
                  <a16:creationId xmlns:a16="http://schemas.microsoft.com/office/drawing/2014/main" id="{10C73967-80C8-4519-BE20-5D3347404909}"/>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7222"/>
            <a:stretch/>
          </p:blipFill>
          <p:spPr>
            <a:xfrm>
              <a:off x="4340532" y="1355372"/>
              <a:ext cx="417964" cy="365937"/>
            </a:xfrm>
            <a:prstGeom prst="rect">
              <a:avLst/>
            </a:prstGeom>
          </p:spPr>
        </p:pic>
      </p:grpSp>
      <p:sp>
        <p:nvSpPr>
          <p:cNvPr id="34" name="TextBox 33">
            <a:extLst>
              <a:ext uri="{FF2B5EF4-FFF2-40B4-BE49-F238E27FC236}">
                <a16:creationId xmlns:a16="http://schemas.microsoft.com/office/drawing/2014/main" id="{DC4F3664-9663-416D-A9A4-0F1159A668C8}"/>
              </a:ext>
            </a:extLst>
          </p:cNvPr>
          <p:cNvSpPr txBox="1"/>
          <p:nvPr/>
        </p:nvSpPr>
        <p:spPr>
          <a:xfrm>
            <a:off x="3815667" y="4282579"/>
            <a:ext cx="3910322" cy="861774"/>
          </a:xfrm>
          <a:prstGeom prst="rect">
            <a:avLst/>
          </a:prstGeom>
          <a:noFill/>
        </p:spPr>
        <p:txBody>
          <a:bodyPr wrap="square">
            <a:spAutoFit/>
          </a:bodyPr>
          <a:lstStyle/>
          <a:p>
            <a:pPr marL="285750" indent="-285750">
              <a:buFont typeface="Arial" panose="020B0604020202020204" pitchFamily="34" charset="0"/>
              <a:buChar char="•"/>
            </a:pPr>
            <a:r>
              <a:rPr lang="en-US" sz="1000" b="1" dirty="0">
                <a:latin typeface="Century Gothic" panose="020B0502020202020204" pitchFamily="34" charset="0"/>
              </a:rPr>
              <a:t>Job creation focus: </a:t>
            </a:r>
            <a:r>
              <a:rPr lang="en-US" sz="1000" dirty="0">
                <a:latin typeface="Century Gothic" panose="020B0502020202020204" pitchFamily="34" charset="0"/>
              </a:rPr>
              <a:t>In line with the program’s job creation objectives, eligible manufacturers must demonstrate commitment to employing local talent with a detailed vocational and technical training plan</a:t>
            </a:r>
          </a:p>
          <a:p>
            <a:pPr marL="285750" indent="-285750">
              <a:buFont typeface="Arial" panose="020B0604020202020204" pitchFamily="34" charset="0"/>
              <a:buChar char="•"/>
            </a:pPr>
            <a:endParaRPr lang="en-US" sz="1000" dirty="0">
              <a:latin typeface="Century Gothic" panose="020B0502020202020204" pitchFamily="34" charset="0"/>
            </a:endParaRPr>
          </a:p>
        </p:txBody>
      </p:sp>
      <p:grpSp>
        <p:nvGrpSpPr>
          <p:cNvPr id="177" name="Group 176">
            <a:extLst>
              <a:ext uri="{FF2B5EF4-FFF2-40B4-BE49-F238E27FC236}">
                <a16:creationId xmlns:a16="http://schemas.microsoft.com/office/drawing/2014/main" id="{8FEFAF6D-2F28-4A63-866B-B36B829B06FC}"/>
              </a:ext>
            </a:extLst>
          </p:cNvPr>
          <p:cNvGrpSpPr/>
          <p:nvPr/>
        </p:nvGrpSpPr>
        <p:grpSpPr>
          <a:xfrm>
            <a:off x="3858974" y="4301177"/>
            <a:ext cx="243461" cy="196605"/>
            <a:chOff x="4302177" y="1355372"/>
            <a:chExt cx="456319" cy="368497"/>
          </a:xfrm>
        </p:grpSpPr>
        <p:sp>
          <p:nvSpPr>
            <p:cNvPr id="178" name="Rectangle 177">
              <a:extLst>
                <a:ext uri="{FF2B5EF4-FFF2-40B4-BE49-F238E27FC236}">
                  <a16:creationId xmlns:a16="http://schemas.microsoft.com/office/drawing/2014/main" id="{1AB62E50-0417-43E5-9D9D-E60DC0F4AC4C}"/>
                </a:ext>
              </a:extLst>
            </p:cNvPr>
            <p:cNvSpPr/>
            <p:nvPr/>
          </p:nvSpPr>
          <p:spPr>
            <a:xfrm>
              <a:off x="4302177" y="1439056"/>
              <a:ext cx="329784" cy="284813"/>
            </a:xfrm>
            <a:prstGeom prst="rect">
              <a:avLst/>
            </a:prstGeom>
            <a:noFill/>
            <a:ln w="9525">
              <a:solidFill>
                <a:srgbClr val="17673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Century Gothic" panose="020B0502020202020204" pitchFamily="34" charset="0"/>
              </a:endParaRPr>
            </a:p>
          </p:txBody>
        </p:sp>
        <p:pic>
          <p:nvPicPr>
            <p:cNvPr id="179" name="Graphic 178">
              <a:extLst>
                <a:ext uri="{FF2B5EF4-FFF2-40B4-BE49-F238E27FC236}">
                  <a16:creationId xmlns:a16="http://schemas.microsoft.com/office/drawing/2014/main" id="{48D007D2-C68A-4BD2-8814-4DCCD9DE7564}"/>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7222"/>
            <a:stretch/>
          </p:blipFill>
          <p:spPr>
            <a:xfrm>
              <a:off x="4340532" y="1355372"/>
              <a:ext cx="417964" cy="365937"/>
            </a:xfrm>
            <a:prstGeom prst="rect">
              <a:avLst/>
            </a:prstGeom>
          </p:spPr>
        </p:pic>
      </p:grpSp>
      <p:grpSp>
        <p:nvGrpSpPr>
          <p:cNvPr id="180" name="Group 179">
            <a:extLst>
              <a:ext uri="{FF2B5EF4-FFF2-40B4-BE49-F238E27FC236}">
                <a16:creationId xmlns:a16="http://schemas.microsoft.com/office/drawing/2014/main" id="{C1634E8D-B1AF-4381-A1D6-08E1CC3E8B8C}"/>
              </a:ext>
            </a:extLst>
          </p:cNvPr>
          <p:cNvGrpSpPr/>
          <p:nvPr/>
        </p:nvGrpSpPr>
        <p:grpSpPr>
          <a:xfrm>
            <a:off x="3825218" y="4950603"/>
            <a:ext cx="243461" cy="196605"/>
            <a:chOff x="4302177" y="1355372"/>
            <a:chExt cx="456319" cy="368497"/>
          </a:xfrm>
        </p:grpSpPr>
        <p:sp>
          <p:nvSpPr>
            <p:cNvPr id="181" name="Rectangle 180">
              <a:extLst>
                <a:ext uri="{FF2B5EF4-FFF2-40B4-BE49-F238E27FC236}">
                  <a16:creationId xmlns:a16="http://schemas.microsoft.com/office/drawing/2014/main" id="{21DBD1B2-C3A0-49B3-AF55-7F4014D17699}"/>
                </a:ext>
              </a:extLst>
            </p:cNvPr>
            <p:cNvSpPr/>
            <p:nvPr/>
          </p:nvSpPr>
          <p:spPr>
            <a:xfrm>
              <a:off x="4302177" y="1439056"/>
              <a:ext cx="329784" cy="284813"/>
            </a:xfrm>
            <a:prstGeom prst="rect">
              <a:avLst/>
            </a:prstGeom>
            <a:noFill/>
            <a:ln w="9525">
              <a:solidFill>
                <a:srgbClr val="17673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Century Gothic" panose="020B0502020202020204" pitchFamily="34" charset="0"/>
              </a:endParaRPr>
            </a:p>
          </p:txBody>
        </p:sp>
        <p:pic>
          <p:nvPicPr>
            <p:cNvPr id="182" name="Graphic 181">
              <a:extLst>
                <a:ext uri="{FF2B5EF4-FFF2-40B4-BE49-F238E27FC236}">
                  <a16:creationId xmlns:a16="http://schemas.microsoft.com/office/drawing/2014/main" id="{495C166D-A7CC-4215-99BB-839DC3050669}"/>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7222"/>
            <a:stretch/>
          </p:blipFill>
          <p:spPr>
            <a:xfrm>
              <a:off x="4340532" y="1355372"/>
              <a:ext cx="417964" cy="365937"/>
            </a:xfrm>
            <a:prstGeom prst="rect">
              <a:avLst/>
            </a:prstGeom>
          </p:spPr>
        </p:pic>
      </p:grpSp>
      <p:sp>
        <p:nvSpPr>
          <p:cNvPr id="35" name="Rectangle 34">
            <a:extLst>
              <a:ext uri="{FF2B5EF4-FFF2-40B4-BE49-F238E27FC236}">
                <a16:creationId xmlns:a16="http://schemas.microsoft.com/office/drawing/2014/main" id="{1A41E1B5-4248-4530-989E-1CB125F0A07B}"/>
              </a:ext>
            </a:extLst>
          </p:cNvPr>
          <p:cNvSpPr/>
          <p:nvPr/>
        </p:nvSpPr>
        <p:spPr>
          <a:xfrm>
            <a:off x="3759318" y="1252605"/>
            <a:ext cx="3910322" cy="5137725"/>
          </a:xfrm>
          <a:prstGeom prst="rect">
            <a:avLst/>
          </a:prstGeom>
          <a:solidFill>
            <a:srgbClr val="176739">
              <a:alpha val="3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just"/>
            <a:endParaRPr lang="en-GB" dirty="0"/>
          </a:p>
        </p:txBody>
      </p:sp>
      <p:sp>
        <p:nvSpPr>
          <p:cNvPr id="184" name="Rectangle 183">
            <a:extLst>
              <a:ext uri="{FF2B5EF4-FFF2-40B4-BE49-F238E27FC236}">
                <a16:creationId xmlns:a16="http://schemas.microsoft.com/office/drawing/2014/main" id="{05191A15-E43C-4AFB-A593-C7ABC92BA54E}"/>
              </a:ext>
            </a:extLst>
          </p:cNvPr>
          <p:cNvSpPr/>
          <p:nvPr/>
        </p:nvSpPr>
        <p:spPr>
          <a:xfrm>
            <a:off x="172730" y="3932713"/>
            <a:ext cx="3434592" cy="338554"/>
          </a:xfrm>
          <a:prstGeom prst="rect">
            <a:avLst/>
          </a:prstGeom>
          <a:solidFill>
            <a:srgbClr val="17673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85" name="TextBox 184">
            <a:extLst>
              <a:ext uri="{FF2B5EF4-FFF2-40B4-BE49-F238E27FC236}">
                <a16:creationId xmlns:a16="http://schemas.microsoft.com/office/drawing/2014/main" id="{59994978-78E3-4A3D-BC9A-45E1073AB1F2}"/>
              </a:ext>
            </a:extLst>
          </p:cNvPr>
          <p:cNvSpPr txBox="1"/>
          <p:nvPr/>
        </p:nvSpPr>
        <p:spPr>
          <a:xfrm>
            <a:off x="146522" y="3931758"/>
            <a:ext cx="3488100" cy="323165"/>
          </a:xfrm>
          <a:prstGeom prst="rect">
            <a:avLst/>
          </a:prstGeom>
          <a:noFill/>
        </p:spPr>
        <p:txBody>
          <a:bodyPr wrap="square" rtlCol="0">
            <a:spAutoFit/>
          </a:bodyPr>
          <a:lstStyle/>
          <a:p>
            <a:pPr algn="ctr"/>
            <a:r>
              <a:rPr lang="en-US" sz="1500" b="1" dirty="0">
                <a:solidFill>
                  <a:schemeClr val="bg1"/>
                </a:solidFill>
                <a:latin typeface="Century Gothic" panose="020B0502020202020204" pitchFamily="34" charset="0"/>
              </a:rPr>
              <a:t>Additional Security Requirement </a:t>
            </a:r>
          </a:p>
        </p:txBody>
      </p:sp>
      <p:sp>
        <p:nvSpPr>
          <p:cNvPr id="186" name="Rectangle 185">
            <a:extLst>
              <a:ext uri="{FF2B5EF4-FFF2-40B4-BE49-F238E27FC236}">
                <a16:creationId xmlns:a16="http://schemas.microsoft.com/office/drawing/2014/main" id="{A5F98B4B-0ED4-455B-AAD6-44570D6759E0}"/>
              </a:ext>
            </a:extLst>
          </p:cNvPr>
          <p:cNvSpPr/>
          <p:nvPr/>
        </p:nvSpPr>
        <p:spPr>
          <a:xfrm>
            <a:off x="173276" y="4351580"/>
            <a:ext cx="3434593" cy="599023"/>
          </a:xfrm>
          <a:prstGeom prst="rect">
            <a:avLst/>
          </a:prstGeom>
          <a:solidFill>
            <a:srgbClr val="176739">
              <a:alpha val="3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en-US" sz="1000" dirty="0">
                <a:solidFill>
                  <a:schemeClr val="tx1"/>
                </a:solidFill>
                <a:latin typeface="Century Gothic" panose="020B0502020202020204" pitchFamily="34" charset="0"/>
              </a:rPr>
              <a:t>Payment security measures will be subject to the PFIs requirements and approval by CBN. </a:t>
            </a:r>
          </a:p>
        </p:txBody>
      </p:sp>
      <p:sp>
        <p:nvSpPr>
          <p:cNvPr id="39" name="Rectangle 38">
            <a:extLst>
              <a:ext uri="{FF2B5EF4-FFF2-40B4-BE49-F238E27FC236}">
                <a16:creationId xmlns:a16="http://schemas.microsoft.com/office/drawing/2014/main" id="{AB669252-9956-48EA-8BD0-8B2A4196AEB3}"/>
              </a:ext>
            </a:extLst>
          </p:cNvPr>
          <p:cNvSpPr/>
          <p:nvPr/>
        </p:nvSpPr>
        <p:spPr>
          <a:xfrm>
            <a:off x="7699655" y="1197267"/>
            <a:ext cx="3910322" cy="5137725"/>
          </a:xfrm>
          <a:prstGeom prst="rect">
            <a:avLst/>
          </a:prstGeom>
          <a:solidFill>
            <a:srgbClr val="176739">
              <a:alpha val="3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just"/>
            <a:endParaRPr lang="en-GB" dirty="0"/>
          </a:p>
        </p:txBody>
      </p:sp>
    </p:spTree>
    <p:extLst>
      <p:ext uri="{BB962C8B-B14F-4D97-AF65-F5344CB8AC3E}">
        <p14:creationId xmlns:p14="http://schemas.microsoft.com/office/powerpoint/2010/main" val="2493997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EVIOUSNAME" val="C:\Users\Oliver Onyekweli\Desktop\DFID\Geospatial\4. Steerco\Final Deliverables Doc\Final\PPT\20190327_NPSS Geospatial Model Final Deliverable_vF.pptx"/>
  <p:tag name="BLUEONEFOURTHTITLEFONTCOLORFIXED" val="true"/>
  <p:tag name="DARKLAYOUTNAMESCHANGEDTOCONTRAST" val="true"/>
  <p:tag name="MTBTACCENT" val="Accent4ColorBoldText"/>
  <p:tag name="THINKCELLPRESENTATIONDONOTDELETE" val="&lt;?xml version=&quot;1.0&quot; encoding=&quot;UTF-16&quot; standalone=&quot;yes&quot;?&gt;&lt;root reqver=&quot;27037&quot;&gt;&lt;version val=&quot;28379&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1&quot;&gt;&lt;elem m_fUsage=&quot;3.25655190924798221275E+00&quot;&gt;&lt;m_msothmcolidx val=&quot;0&quot;/&gt;&lt;m_rgb r=&quot;D3&quot; g=&quot;D3&quot; b=&quot;D3&quot;/&gt;&lt;/elem&gt;&lt;elem m_fUsage=&quot;1.88478068450070046502E+00&quot;&gt;&lt;m_msothmcolidx val=&quot;0&quot;/&gt;&lt;m_rgb r=&quot;BF&quot; g=&quot;BF&quot; b=&quot;BF&quot;/&gt;&lt;/elem&gt;&lt;elem m_fUsage=&quot;1.68738654740214677474E+00&quot;&gt;&lt;m_msothmcolidx val=&quot;0&quot;/&gt;&lt;m_rgb r=&quot;69&quot; g=&quot;69&quot; b=&quot;69&quot;/&gt;&lt;/elem&gt;&lt;elem m_fUsage=&quot;1.38509999999999999787E+00&quot;&gt;&lt;m_msothmcolidx val=&quot;0&quot;/&gt;&lt;m_rgb r=&quot;FB&quot; g=&quot;B1&quot; b=&quot;00&quot;/&gt;&lt;/elem&gt;&lt;elem m_fUsage=&quot;1.02095721000000017042E+00&quot;&gt;&lt;m_msothmcolidx val=&quot;0&quot;/&gt;&lt;m_rgb r=&quot;D1&quot; g=&quot;E2&quot; b=&quot;E0&quot;/&gt;&lt;/elem&gt;&lt;elem m_fUsage=&quot;5.93772863220988322830E-01&quot;&gt;&lt;m_msothmcolidx val=&quot;0&quot;/&gt;&lt;m_rgb r=&quot;94&quot; g=&quot;00&quot; b=&quot;00&quot;/&gt;&lt;/elem&gt;&lt;elem m_fUsage=&quot;1.09418989131512434110E-01&quot;&gt;&lt;m_msothmcolidx val=&quot;0&quot;/&gt;&lt;m_rgb r=&quot;FF&quot; g=&quot;C1&quot; b=&quot;C1&quot;/&gt;&lt;/elem&gt;&lt;elem m_fUsage=&quot;2.09844450560497039482E-02&quot;&gt;&lt;m_msothmcolidx val=&quot;0&quot;/&gt;&lt;m_rgb r=&quot;C2&quot; g=&quot;EB&quot; b=&quot;CD&quot;/&gt;&lt;/elem&gt;&lt;elem m_fUsage=&quot;5.72641689702235463094E-03&quot;&gt;&lt;m_msothmcolidx val=&quot;0&quot;/&gt;&lt;m_rgb r=&quot;46&quot; g=&quot;C1&quot; b=&quot;6F&quot;/&gt;&lt;/elem&gt;&lt;elem m_fUsage=&quot;4.17455791792929655631E-03&quot;&gt;&lt;m_msothmcolidx val=&quot;0&quot;/&gt;&lt;m_rgb r=&quot;40&quot; g=&quot;9D&quot; b=&quot;AD&quot;/&gt;&lt;/elem&gt;&lt;elem m_fUsage=&quot;3.75710212613636698742E-03&quot;&gt;&lt;m_msothmcolidx val=&quot;0&quot;/&gt;&lt;m_rgb r=&quot;0B&quot; g=&quot;2D&quot; b=&quot;1A&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GxHr9MLTYSGc0kEuX4q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Pj3FuHqyosdKsTcN_f3L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Pj3FuHqyosdKsTcN_f3Lg"/>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yGxHr9MLTYSGc0kEuX4ql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yGxHr9MLTYSGc0kEuX4ql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1_Firm Format - template">
  <a:themeElements>
    <a:clrScheme name="Custom 1">
      <a:dk1>
        <a:srgbClr val="000000"/>
      </a:dk1>
      <a:lt1>
        <a:srgbClr val="FFFFFF"/>
      </a:lt1>
      <a:dk2>
        <a:srgbClr val="176739"/>
      </a:dk2>
      <a:lt2>
        <a:srgbClr val="FFFFFF"/>
      </a:lt2>
      <a:accent1>
        <a:srgbClr val="D1E2E0"/>
      </a:accent1>
      <a:accent2>
        <a:srgbClr val="3DB75D"/>
      </a:accent2>
      <a:accent3>
        <a:srgbClr val="28974B"/>
      </a:accent3>
      <a:accent4>
        <a:srgbClr val="176739"/>
      </a:accent4>
      <a:accent5>
        <a:srgbClr val="404040"/>
      </a:accent5>
      <a:accent6>
        <a:srgbClr val="808080"/>
      </a:accent6>
      <a:hlink>
        <a:srgbClr val="28974B"/>
      </a:hlink>
      <a:folHlink>
        <a:srgbClr val="176739"/>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wide" id="{AC49C514-899D-4B72-826A-628650FA61FA}" vid="{7E1BFA72-62F1-42BE-A2D2-362013624C6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429</Words>
  <Application>Microsoft Office PowerPoint</Application>
  <PresentationFormat>Custom</PresentationFormat>
  <Paragraphs>41</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Calibri</vt:lpstr>
      <vt:lpstr>Century Gothic</vt:lpstr>
      <vt:lpstr>1_Firm Format - template</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3-08T21:30:52Z</dcterms:created>
  <dcterms:modified xsi:type="dcterms:W3CDTF">2020-11-03T09:35:31Z</dcterms:modified>
</cp:coreProperties>
</file>